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6"/>
  </p:sldMasterIdLst>
  <p:notesMasterIdLst>
    <p:notesMasterId r:id="rId30"/>
  </p:notesMasterIdLst>
  <p:handoutMasterIdLst>
    <p:handoutMasterId r:id="rId31"/>
  </p:handoutMasterIdLst>
  <p:sldIdLst>
    <p:sldId id="419" r:id="rId7"/>
    <p:sldId id="421" r:id="rId8"/>
    <p:sldId id="420" r:id="rId9"/>
    <p:sldId id="330" r:id="rId10"/>
    <p:sldId id="405" r:id="rId11"/>
    <p:sldId id="411" r:id="rId12"/>
    <p:sldId id="410" r:id="rId13"/>
    <p:sldId id="406" r:id="rId14"/>
    <p:sldId id="413" r:id="rId15"/>
    <p:sldId id="415" r:id="rId16"/>
    <p:sldId id="414" r:id="rId17"/>
    <p:sldId id="417" r:id="rId18"/>
    <p:sldId id="418" r:id="rId19"/>
    <p:sldId id="423" r:id="rId20"/>
    <p:sldId id="424" r:id="rId21"/>
    <p:sldId id="425" r:id="rId22"/>
    <p:sldId id="426" r:id="rId23"/>
    <p:sldId id="427" r:id="rId24"/>
    <p:sldId id="428" r:id="rId25"/>
    <p:sldId id="429" r:id="rId26"/>
    <p:sldId id="430" r:id="rId27"/>
    <p:sldId id="261" r:id="rId28"/>
    <p:sldId id="422" r:id="rId29"/>
  </p:sldIdLst>
  <p:sldSz cx="12192000" cy="6858000"/>
  <p:notesSz cx="6858000" cy="9144000"/>
  <p:embeddedFontLst>
    <p:embeddedFont>
      <p:font typeface="Ericsson Hilda" panose="00000500000000000000" pitchFamily="2" charset="0"/>
      <p:regular r:id="rId32"/>
      <p:bold r:id="rId33"/>
      <p:italic r:id="rId34"/>
      <p:boldItalic r:id="rId35"/>
    </p:embeddedFont>
    <p:embeddedFont>
      <p:font typeface="Ericsson Hilda Light" panose="00000400000000000000" pitchFamily="2" charset="0"/>
      <p:regular r:id="rId36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82F0"/>
    <a:srgbClr val="00A9D4"/>
    <a:srgbClr val="242424"/>
    <a:srgbClr val="76767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713" autoAdjust="0"/>
    <p:restoredTop sz="93542" autoAdjust="0"/>
  </p:normalViewPr>
  <p:slideViewPr>
    <p:cSldViewPr snapToGrid="0" snapToObjects="1" showGuides="1">
      <p:cViewPr varScale="1">
        <p:scale>
          <a:sx n="68" d="100"/>
          <a:sy n="68" d="100"/>
        </p:scale>
        <p:origin x="708" y="66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font" Target="fonts/font3.fntdata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font" Target="fonts/font2.fntdata"/><Relationship Id="rId38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font" Target="fonts/font1.fntdata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font" Target="fonts/font5.fntdata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notesMaster" Target="notesMasters/notesMaster1.xml"/><Relationship Id="rId35" Type="http://schemas.openxmlformats.org/officeDocument/2006/relationships/font" Target="fonts/font4.fntdata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927C8E5-252B-4587-BA9C-5A5CF4B825F1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08476B00-61D9-4563-B908-2F3CCF282EB9}">
      <dgm:prSet phldrT="[Text]" custT="1"/>
      <dgm:spPr/>
      <dgm:t>
        <a:bodyPr/>
        <a:lstStyle/>
        <a:p>
          <a:r>
            <a:rPr lang="en-US" sz="1400" dirty="0"/>
            <a:t>BOT Pre-requisites</a:t>
          </a:r>
        </a:p>
      </dgm:t>
    </dgm:pt>
    <dgm:pt modelId="{51835178-8D77-4A62-8501-46D52097D49E}" type="parTrans" cxnId="{7E9781B7-3017-46A2-835D-6BC65862266B}">
      <dgm:prSet/>
      <dgm:spPr/>
      <dgm:t>
        <a:bodyPr/>
        <a:lstStyle/>
        <a:p>
          <a:endParaRPr lang="en-US" sz="1400"/>
        </a:p>
      </dgm:t>
    </dgm:pt>
    <dgm:pt modelId="{005AEB0C-6F34-4F48-92FB-54042564728E}" type="sibTrans" cxnId="{7E9781B7-3017-46A2-835D-6BC65862266B}">
      <dgm:prSet/>
      <dgm:spPr/>
      <dgm:t>
        <a:bodyPr/>
        <a:lstStyle/>
        <a:p>
          <a:endParaRPr lang="en-US" sz="1400"/>
        </a:p>
      </dgm:t>
    </dgm:pt>
    <dgm:pt modelId="{A58BA81A-B275-4966-B281-A419208A83E8}">
      <dgm:prSet phldrT="[Text]" custT="1"/>
      <dgm:spPr/>
      <dgm:t>
        <a:bodyPr/>
        <a:lstStyle/>
        <a:p>
          <a:r>
            <a:rPr lang="en-US" sz="1400" dirty="0"/>
            <a:t>Identify WF &amp; Step</a:t>
          </a:r>
        </a:p>
      </dgm:t>
    </dgm:pt>
    <dgm:pt modelId="{19389DA1-075A-4501-A2D1-127182C3A5E2}" type="parTrans" cxnId="{65F3ED12-0E3A-4564-83DE-D2E0435513BC}">
      <dgm:prSet/>
      <dgm:spPr/>
      <dgm:t>
        <a:bodyPr/>
        <a:lstStyle/>
        <a:p>
          <a:endParaRPr lang="en-US" sz="1400"/>
        </a:p>
      </dgm:t>
    </dgm:pt>
    <dgm:pt modelId="{C440807F-2EB5-4CCC-A6E0-BF42C1930304}" type="sibTrans" cxnId="{65F3ED12-0E3A-4564-83DE-D2E0435513BC}">
      <dgm:prSet/>
      <dgm:spPr/>
      <dgm:t>
        <a:bodyPr/>
        <a:lstStyle/>
        <a:p>
          <a:endParaRPr lang="en-US" sz="1400"/>
        </a:p>
      </dgm:t>
    </dgm:pt>
    <dgm:pt modelId="{52925A29-C443-4A01-806C-EA325F6C999C}">
      <dgm:prSet phldrT="[Text]" custT="1"/>
      <dgm:spPr/>
      <dgm:t>
        <a:bodyPr/>
        <a:lstStyle/>
        <a:p>
          <a:r>
            <a:rPr lang="en-US" sz="1400" dirty="0"/>
            <a:t>Create request for BOT ID</a:t>
          </a:r>
        </a:p>
      </dgm:t>
    </dgm:pt>
    <dgm:pt modelId="{B57699D8-3748-46A8-85B1-A1422439284D}" type="parTrans" cxnId="{C392D539-172C-4AA0-B319-525DF1DCC87D}">
      <dgm:prSet/>
      <dgm:spPr/>
      <dgm:t>
        <a:bodyPr/>
        <a:lstStyle/>
        <a:p>
          <a:endParaRPr lang="en-US" sz="1400"/>
        </a:p>
      </dgm:t>
    </dgm:pt>
    <dgm:pt modelId="{EB45E937-7C85-4533-947F-AD8B1EDFE92D}" type="sibTrans" cxnId="{C392D539-172C-4AA0-B319-525DF1DCC87D}">
      <dgm:prSet/>
      <dgm:spPr/>
      <dgm:t>
        <a:bodyPr/>
        <a:lstStyle/>
        <a:p>
          <a:endParaRPr lang="en-US" sz="1400"/>
        </a:p>
      </dgm:t>
    </dgm:pt>
    <dgm:pt modelId="{4C7E8E80-948B-48AD-BC99-A7E28657B933}">
      <dgm:prSet phldrT="[Text]" custT="1"/>
      <dgm:spPr/>
      <dgm:t>
        <a:bodyPr/>
        <a:lstStyle/>
        <a:p>
          <a:r>
            <a:rPr lang="en-US" sz="1400" dirty="0"/>
            <a:t>WF Owner Approval for BOT</a:t>
          </a:r>
        </a:p>
      </dgm:t>
    </dgm:pt>
    <dgm:pt modelId="{C23CCFCF-51E1-480D-A786-1CAF0D124723}" type="parTrans" cxnId="{2DFAFA98-CE46-4B0F-AEA6-CC8175D5CC14}">
      <dgm:prSet/>
      <dgm:spPr/>
      <dgm:t>
        <a:bodyPr/>
        <a:lstStyle/>
        <a:p>
          <a:endParaRPr lang="en-US" sz="1400"/>
        </a:p>
      </dgm:t>
    </dgm:pt>
    <dgm:pt modelId="{F91C1771-F84B-425A-9B5F-96B71204416C}" type="sibTrans" cxnId="{2DFAFA98-CE46-4B0F-AEA6-CC8175D5CC14}">
      <dgm:prSet/>
      <dgm:spPr/>
      <dgm:t>
        <a:bodyPr/>
        <a:lstStyle/>
        <a:p>
          <a:endParaRPr lang="en-US" sz="1400"/>
        </a:p>
      </dgm:t>
    </dgm:pt>
    <dgm:pt modelId="{1649E5F7-71FF-4705-904E-B2E3140BFC0F}">
      <dgm:prSet phldrT="[Text]" custT="1"/>
      <dgm:spPr/>
      <dgm:t>
        <a:bodyPr/>
        <a:lstStyle/>
        <a:p>
          <a:r>
            <a:rPr lang="en-US" sz="1400" dirty="0"/>
            <a:t>Test BOT</a:t>
          </a:r>
        </a:p>
      </dgm:t>
    </dgm:pt>
    <dgm:pt modelId="{02DC243A-31CA-43DE-88DD-4E61E44530EF}" type="parTrans" cxnId="{424710C7-46D3-4E5C-9469-867584641A20}">
      <dgm:prSet/>
      <dgm:spPr/>
      <dgm:t>
        <a:bodyPr/>
        <a:lstStyle/>
        <a:p>
          <a:endParaRPr lang="en-US" sz="1400"/>
        </a:p>
      </dgm:t>
    </dgm:pt>
    <dgm:pt modelId="{86F4072A-13E8-4877-9632-B2C40A4530DD}" type="sibTrans" cxnId="{424710C7-46D3-4E5C-9469-867584641A20}">
      <dgm:prSet/>
      <dgm:spPr/>
      <dgm:t>
        <a:bodyPr/>
        <a:lstStyle/>
        <a:p>
          <a:endParaRPr lang="en-US" sz="1400"/>
        </a:p>
      </dgm:t>
    </dgm:pt>
    <dgm:pt modelId="{5AC57C62-737A-47F6-B8CC-BE3B21D6F314}">
      <dgm:prSet phldrT="[Text]" custT="1"/>
      <dgm:spPr/>
      <dgm:t>
        <a:bodyPr/>
        <a:lstStyle/>
        <a:p>
          <a:r>
            <a:rPr lang="en-US" sz="1400" dirty="0"/>
            <a:t>SP Deploys BOT</a:t>
          </a:r>
        </a:p>
      </dgm:t>
    </dgm:pt>
    <dgm:pt modelId="{CE612725-7392-4593-BE0F-E43C8FF10E9D}" type="parTrans" cxnId="{9254EE28-97C3-49A8-901E-E13F3BC9D953}">
      <dgm:prSet/>
      <dgm:spPr/>
      <dgm:t>
        <a:bodyPr/>
        <a:lstStyle/>
        <a:p>
          <a:endParaRPr lang="en-US" sz="1400"/>
        </a:p>
      </dgm:t>
    </dgm:pt>
    <dgm:pt modelId="{8FBDEDE7-F488-4CE7-BFF3-614CC35E0CA8}" type="sibTrans" cxnId="{9254EE28-97C3-49A8-901E-E13F3BC9D953}">
      <dgm:prSet/>
      <dgm:spPr/>
      <dgm:t>
        <a:bodyPr/>
        <a:lstStyle/>
        <a:p>
          <a:endParaRPr lang="en-US" sz="1400"/>
        </a:p>
      </dgm:t>
    </dgm:pt>
    <dgm:pt modelId="{AF751E34-ADF5-4390-871C-83F91FB11D3A}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US" sz="1400" dirty="0"/>
            <a:t>BOT ID Created</a:t>
          </a:r>
        </a:p>
      </dgm:t>
    </dgm:pt>
    <dgm:pt modelId="{3D6B1BF3-6F3C-44BD-9AE4-CB8FC8579B6D}" type="parTrans" cxnId="{FCEB6533-6FE9-4FCE-BC7F-AA8EC2BA2816}">
      <dgm:prSet/>
      <dgm:spPr/>
      <dgm:t>
        <a:bodyPr/>
        <a:lstStyle/>
        <a:p>
          <a:endParaRPr lang="en-US"/>
        </a:p>
      </dgm:t>
    </dgm:pt>
    <dgm:pt modelId="{CBF2D7A2-A277-4729-8190-D9FA5DD29B21}" type="sibTrans" cxnId="{FCEB6533-6FE9-4FCE-BC7F-AA8EC2BA2816}">
      <dgm:prSet/>
      <dgm:spPr/>
      <dgm:t>
        <a:bodyPr/>
        <a:lstStyle/>
        <a:p>
          <a:endParaRPr lang="en-US"/>
        </a:p>
      </dgm:t>
    </dgm:pt>
    <dgm:pt modelId="{16076731-49FC-453F-A2D9-B22A7E2213C3}" type="pres">
      <dgm:prSet presAssocID="{0927C8E5-252B-4587-BA9C-5A5CF4B825F1}" presName="Name0" presStyleCnt="0">
        <dgm:presLayoutVars>
          <dgm:dir/>
          <dgm:resizeHandles val="exact"/>
        </dgm:presLayoutVars>
      </dgm:prSet>
      <dgm:spPr/>
    </dgm:pt>
    <dgm:pt modelId="{818A878D-43A8-4934-AC8B-7C20B18AF202}" type="pres">
      <dgm:prSet presAssocID="{08476B00-61D9-4563-B908-2F3CCF282EB9}" presName="parTxOnly" presStyleLbl="node1" presStyleIdx="0" presStyleCnt="7">
        <dgm:presLayoutVars>
          <dgm:bulletEnabled val="1"/>
        </dgm:presLayoutVars>
      </dgm:prSet>
      <dgm:spPr/>
    </dgm:pt>
    <dgm:pt modelId="{59D3B1E1-C1D8-4BDB-9CBF-BA05A5FD2415}" type="pres">
      <dgm:prSet presAssocID="{005AEB0C-6F34-4F48-92FB-54042564728E}" presName="parSpace" presStyleCnt="0"/>
      <dgm:spPr/>
    </dgm:pt>
    <dgm:pt modelId="{F39AD17B-EE1C-44BB-8B46-FCBEED98B69A}" type="pres">
      <dgm:prSet presAssocID="{A58BA81A-B275-4966-B281-A419208A83E8}" presName="parTxOnly" presStyleLbl="node1" presStyleIdx="1" presStyleCnt="7">
        <dgm:presLayoutVars>
          <dgm:bulletEnabled val="1"/>
        </dgm:presLayoutVars>
      </dgm:prSet>
      <dgm:spPr/>
    </dgm:pt>
    <dgm:pt modelId="{D0729798-3CF3-4333-A38E-E1DE1E80D2D3}" type="pres">
      <dgm:prSet presAssocID="{C440807F-2EB5-4CCC-A6E0-BF42C1930304}" presName="parSpace" presStyleCnt="0"/>
      <dgm:spPr/>
    </dgm:pt>
    <dgm:pt modelId="{948B5C10-C9AE-4169-96CF-A9DB1517502D}" type="pres">
      <dgm:prSet presAssocID="{52925A29-C443-4A01-806C-EA325F6C999C}" presName="parTxOnly" presStyleLbl="node1" presStyleIdx="2" presStyleCnt="7">
        <dgm:presLayoutVars>
          <dgm:bulletEnabled val="1"/>
        </dgm:presLayoutVars>
      </dgm:prSet>
      <dgm:spPr/>
    </dgm:pt>
    <dgm:pt modelId="{482A6916-9489-4A30-B08F-4966146D5FBB}" type="pres">
      <dgm:prSet presAssocID="{EB45E937-7C85-4533-947F-AD8B1EDFE92D}" presName="parSpace" presStyleCnt="0"/>
      <dgm:spPr/>
    </dgm:pt>
    <dgm:pt modelId="{EF4EFC10-BDA5-4532-8C4C-7F9A3F73D8DD}" type="pres">
      <dgm:prSet presAssocID="{1649E5F7-71FF-4705-904E-B2E3140BFC0F}" presName="parTxOnly" presStyleLbl="node1" presStyleIdx="3" presStyleCnt="7">
        <dgm:presLayoutVars>
          <dgm:bulletEnabled val="1"/>
        </dgm:presLayoutVars>
      </dgm:prSet>
      <dgm:spPr/>
    </dgm:pt>
    <dgm:pt modelId="{75D2E76D-7056-476E-AB6D-A142D0F9117B}" type="pres">
      <dgm:prSet presAssocID="{86F4072A-13E8-4877-9632-B2C40A4530DD}" presName="parSpace" presStyleCnt="0"/>
      <dgm:spPr/>
    </dgm:pt>
    <dgm:pt modelId="{B1B4D840-18C8-410A-8538-77C873F89C23}" type="pres">
      <dgm:prSet presAssocID="{4C7E8E80-948B-48AD-BC99-A7E28657B933}" presName="parTxOnly" presStyleLbl="node1" presStyleIdx="4" presStyleCnt="7">
        <dgm:presLayoutVars>
          <dgm:bulletEnabled val="1"/>
        </dgm:presLayoutVars>
      </dgm:prSet>
      <dgm:spPr/>
    </dgm:pt>
    <dgm:pt modelId="{87961F05-B43F-4A3C-BC0D-B418F09C2B2C}" type="pres">
      <dgm:prSet presAssocID="{F91C1771-F84B-425A-9B5F-96B71204416C}" presName="parSpace" presStyleCnt="0"/>
      <dgm:spPr/>
    </dgm:pt>
    <dgm:pt modelId="{8F63F1D1-2A1A-4976-9F34-70C60C9635AC}" type="pres">
      <dgm:prSet presAssocID="{5AC57C62-737A-47F6-B8CC-BE3B21D6F314}" presName="parTxOnly" presStyleLbl="node1" presStyleIdx="5" presStyleCnt="7">
        <dgm:presLayoutVars>
          <dgm:bulletEnabled val="1"/>
        </dgm:presLayoutVars>
      </dgm:prSet>
      <dgm:spPr/>
    </dgm:pt>
    <dgm:pt modelId="{5B21B346-E813-465E-A85B-71E16E9DE2BC}" type="pres">
      <dgm:prSet presAssocID="{8FBDEDE7-F488-4CE7-BFF3-614CC35E0CA8}" presName="parSpace" presStyleCnt="0"/>
      <dgm:spPr/>
    </dgm:pt>
    <dgm:pt modelId="{60A2FA1E-8D03-4D67-B625-D22FF2EA805F}" type="pres">
      <dgm:prSet presAssocID="{AF751E34-ADF5-4390-871C-83F91FB11D3A}" presName="parTxOnly" presStyleLbl="node1" presStyleIdx="6" presStyleCnt="7">
        <dgm:presLayoutVars>
          <dgm:bulletEnabled val="1"/>
        </dgm:presLayoutVars>
      </dgm:prSet>
      <dgm:spPr/>
    </dgm:pt>
  </dgm:ptLst>
  <dgm:cxnLst>
    <dgm:cxn modelId="{3136DB3B-4C76-404A-AAB0-4A399CA569A7}" type="presOf" srcId="{1649E5F7-71FF-4705-904E-B2E3140BFC0F}" destId="{EF4EFC10-BDA5-4532-8C4C-7F9A3F73D8DD}" srcOrd="0" destOrd="0" presId="urn:microsoft.com/office/officeart/2005/8/layout/hChevron3"/>
    <dgm:cxn modelId="{C12B7494-1CA0-41BE-8888-768D75A8B3BD}" type="presOf" srcId="{52925A29-C443-4A01-806C-EA325F6C999C}" destId="{948B5C10-C9AE-4169-96CF-A9DB1517502D}" srcOrd="0" destOrd="0" presId="urn:microsoft.com/office/officeart/2005/8/layout/hChevron3"/>
    <dgm:cxn modelId="{5B2F47AE-5E8E-4735-A9AB-E76AB89AF270}" type="presOf" srcId="{08476B00-61D9-4563-B908-2F3CCF282EB9}" destId="{818A878D-43A8-4934-AC8B-7C20B18AF202}" srcOrd="0" destOrd="0" presId="urn:microsoft.com/office/officeart/2005/8/layout/hChevron3"/>
    <dgm:cxn modelId="{424710C7-46D3-4E5C-9469-867584641A20}" srcId="{0927C8E5-252B-4587-BA9C-5A5CF4B825F1}" destId="{1649E5F7-71FF-4705-904E-B2E3140BFC0F}" srcOrd="3" destOrd="0" parTransId="{02DC243A-31CA-43DE-88DD-4E61E44530EF}" sibTransId="{86F4072A-13E8-4877-9632-B2C40A4530DD}"/>
    <dgm:cxn modelId="{65F3ED12-0E3A-4564-83DE-D2E0435513BC}" srcId="{0927C8E5-252B-4587-BA9C-5A5CF4B825F1}" destId="{A58BA81A-B275-4966-B281-A419208A83E8}" srcOrd="1" destOrd="0" parTransId="{19389DA1-075A-4501-A2D1-127182C3A5E2}" sibTransId="{C440807F-2EB5-4CCC-A6E0-BF42C1930304}"/>
    <dgm:cxn modelId="{FCEB6533-6FE9-4FCE-BC7F-AA8EC2BA2816}" srcId="{0927C8E5-252B-4587-BA9C-5A5CF4B825F1}" destId="{AF751E34-ADF5-4390-871C-83F91FB11D3A}" srcOrd="6" destOrd="0" parTransId="{3D6B1BF3-6F3C-44BD-9AE4-CB8FC8579B6D}" sibTransId="{CBF2D7A2-A277-4729-8190-D9FA5DD29B21}"/>
    <dgm:cxn modelId="{9254EE28-97C3-49A8-901E-E13F3BC9D953}" srcId="{0927C8E5-252B-4587-BA9C-5A5CF4B825F1}" destId="{5AC57C62-737A-47F6-B8CC-BE3B21D6F314}" srcOrd="5" destOrd="0" parTransId="{CE612725-7392-4593-BE0F-E43C8FF10E9D}" sibTransId="{8FBDEDE7-F488-4CE7-BFF3-614CC35E0CA8}"/>
    <dgm:cxn modelId="{D7AD05CC-7866-462B-8DFF-C5DCCAF6F423}" type="presOf" srcId="{AF751E34-ADF5-4390-871C-83F91FB11D3A}" destId="{60A2FA1E-8D03-4D67-B625-D22FF2EA805F}" srcOrd="0" destOrd="0" presId="urn:microsoft.com/office/officeart/2005/8/layout/hChevron3"/>
    <dgm:cxn modelId="{DD57D6F4-4087-45A9-B134-102A648E575F}" type="presOf" srcId="{4C7E8E80-948B-48AD-BC99-A7E28657B933}" destId="{B1B4D840-18C8-410A-8538-77C873F89C23}" srcOrd="0" destOrd="0" presId="urn:microsoft.com/office/officeart/2005/8/layout/hChevron3"/>
    <dgm:cxn modelId="{56BCB51C-3D0C-46B6-A2DA-A615640EA0E9}" type="presOf" srcId="{A58BA81A-B275-4966-B281-A419208A83E8}" destId="{F39AD17B-EE1C-44BB-8B46-FCBEED98B69A}" srcOrd="0" destOrd="0" presId="urn:microsoft.com/office/officeart/2005/8/layout/hChevron3"/>
    <dgm:cxn modelId="{C392D539-172C-4AA0-B319-525DF1DCC87D}" srcId="{0927C8E5-252B-4587-BA9C-5A5CF4B825F1}" destId="{52925A29-C443-4A01-806C-EA325F6C999C}" srcOrd="2" destOrd="0" parTransId="{B57699D8-3748-46A8-85B1-A1422439284D}" sibTransId="{EB45E937-7C85-4533-947F-AD8B1EDFE92D}"/>
    <dgm:cxn modelId="{2DFAFA98-CE46-4B0F-AEA6-CC8175D5CC14}" srcId="{0927C8E5-252B-4587-BA9C-5A5CF4B825F1}" destId="{4C7E8E80-948B-48AD-BC99-A7E28657B933}" srcOrd="4" destOrd="0" parTransId="{C23CCFCF-51E1-480D-A786-1CAF0D124723}" sibTransId="{F91C1771-F84B-425A-9B5F-96B71204416C}"/>
    <dgm:cxn modelId="{7E9781B7-3017-46A2-835D-6BC65862266B}" srcId="{0927C8E5-252B-4587-BA9C-5A5CF4B825F1}" destId="{08476B00-61D9-4563-B908-2F3CCF282EB9}" srcOrd="0" destOrd="0" parTransId="{51835178-8D77-4A62-8501-46D52097D49E}" sibTransId="{005AEB0C-6F34-4F48-92FB-54042564728E}"/>
    <dgm:cxn modelId="{08B5E811-9EAE-4A6F-96A3-17BA2C10114A}" type="presOf" srcId="{5AC57C62-737A-47F6-B8CC-BE3B21D6F314}" destId="{8F63F1D1-2A1A-4976-9F34-70C60C9635AC}" srcOrd="0" destOrd="0" presId="urn:microsoft.com/office/officeart/2005/8/layout/hChevron3"/>
    <dgm:cxn modelId="{FD693C58-904C-4F65-B449-3A7FB3D04626}" type="presOf" srcId="{0927C8E5-252B-4587-BA9C-5A5CF4B825F1}" destId="{16076731-49FC-453F-A2D9-B22A7E2213C3}" srcOrd="0" destOrd="0" presId="urn:microsoft.com/office/officeart/2005/8/layout/hChevron3"/>
    <dgm:cxn modelId="{CA943F51-DB34-4D33-9059-4448CEA53651}" type="presParOf" srcId="{16076731-49FC-453F-A2D9-B22A7E2213C3}" destId="{818A878D-43A8-4934-AC8B-7C20B18AF202}" srcOrd="0" destOrd="0" presId="urn:microsoft.com/office/officeart/2005/8/layout/hChevron3"/>
    <dgm:cxn modelId="{DA47F2C7-C0E5-4894-ADC4-DF841CAF3B61}" type="presParOf" srcId="{16076731-49FC-453F-A2D9-B22A7E2213C3}" destId="{59D3B1E1-C1D8-4BDB-9CBF-BA05A5FD2415}" srcOrd="1" destOrd="0" presId="urn:microsoft.com/office/officeart/2005/8/layout/hChevron3"/>
    <dgm:cxn modelId="{0BC7EC27-D881-41CD-9C4A-9984D6A69B0C}" type="presParOf" srcId="{16076731-49FC-453F-A2D9-B22A7E2213C3}" destId="{F39AD17B-EE1C-44BB-8B46-FCBEED98B69A}" srcOrd="2" destOrd="0" presId="urn:microsoft.com/office/officeart/2005/8/layout/hChevron3"/>
    <dgm:cxn modelId="{003ABA9F-52EB-494D-BD7F-2C8E61C968F6}" type="presParOf" srcId="{16076731-49FC-453F-A2D9-B22A7E2213C3}" destId="{D0729798-3CF3-4333-A38E-E1DE1E80D2D3}" srcOrd="3" destOrd="0" presId="urn:microsoft.com/office/officeart/2005/8/layout/hChevron3"/>
    <dgm:cxn modelId="{DA135351-6829-489E-8381-73C9CEDB726A}" type="presParOf" srcId="{16076731-49FC-453F-A2D9-B22A7E2213C3}" destId="{948B5C10-C9AE-4169-96CF-A9DB1517502D}" srcOrd="4" destOrd="0" presId="urn:microsoft.com/office/officeart/2005/8/layout/hChevron3"/>
    <dgm:cxn modelId="{23BBCB93-4676-450E-9EB8-76C75E24C890}" type="presParOf" srcId="{16076731-49FC-453F-A2D9-B22A7E2213C3}" destId="{482A6916-9489-4A30-B08F-4966146D5FBB}" srcOrd="5" destOrd="0" presId="urn:microsoft.com/office/officeart/2005/8/layout/hChevron3"/>
    <dgm:cxn modelId="{CB017FAE-3AB1-488A-911A-9139C932D65C}" type="presParOf" srcId="{16076731-49FC-453F-A2D9-B22A7E2213C3}" destId="{EF4EFC10-BDA5-4532-8C4C-7F9A3F73D8DD}" srcOrd="6" destOrd="0" presId="urn:microsoft.com/office/officeart/2005/8/layout/hChevron3"/>
    <dgm:cxn modelId="{8C91D052-C92D-441F-9524-48D12842DCA7}" type="presParOf" srcId="{16076731-49FC-453F-A2D9-B22A7E2213C3}" destId="{75D2E76D-7056-476E-AB6D-A142D0F9117B}" srcOrd="7" destOrd="0" presId="urn:microsoft.com/office/officeart/2005/8/layout/hChevron3"/>
    <dgm:cxn modelId="{86FEB06A-5070-41D2-AFAB-2D74E836D170}" type="presParOf" srcId="{16076731-49FC-453F-A2D9-B22A7E2213C3}" destId="{B1B4D840-18C8-410A-8538-77C873F89C23}" srcOrd="8" destOrd="0" presId="urn:microsoft.com/office/officeart/2005/8/layout/hChevron3"/>
    <dgm:cxn modelId="{A8EA2F9F-6F13-4016-AED2-C04B30B03EEE}" type="presParOf" srcId="{16076731-49FC-453F-A2D9-B22A7E2213C3}" destId="{87961F05-B43F-4A3C-BC0D-B418F09C2B2C}" srcOrd="9" destOrd="0" presId="urn:microsoft.com/office/officeart/2005/8/layout/hChevron3"/>
    <dgm:cxn modelId="{46955CC6-F7BA-4B3A-BC2F-079CD66D38D0}" type="presParOf" srcId="{16076731-49FC-453F-A2D9-B22A7E2213C3}" destId="{8F63F1D1-2A1A-4976-9F34-70C60C9635AC}" srcOrd="10" destOrd="0" presId="urn:microsoft.com/office/officeart/2005/8/layout/hChevron3"/>
    <dgm:cxn modelId="{2453971C-A8DB-484D-B846-158B2B5B148D}" type="presParOf" srcId="{16076731-49FC-453F-A2D9-B22A7E2213C3}" destId="{5B21B346-E813-465E-A85B-71E16E9DE2BC}" srcOrd="11" destOrd="0" presId="urn:microsoft.com/office/officeart/2005/8/layout/hChevron3"/>
    <dgm:cxn modelId="{E7308355-E4BE-4F19-B9B3-320C894D3CB8}" type="presParOf" srcId="{16076731-49FC-453F-A2D9-B22A7E2213C3}" destId="{60A2FA1E-8D03-4D67-B625-D22FF2EA805F}" srcOrd="12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18A878D-43A8-4934-AC8B-7C20B18AF202}">
      <dsp:nvSpPr>
        <dsp:cNvPr id="0" name=""/>
        <dsp:cNvSpPr/>
      </dsp:nvSpPr>
      <dsp:spPr>
        <a:xfrm>
          <a:off x="1713" y="488550"/>
          <a:ext cx="2016476" cy="806590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4676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BOT Pre-requisites</a:t>
          </a:r>
        </a:p>
      </dsp:txBody>
      <dsp:txXfrm>
        <a:off x="1713" y="488550"/>
        <a:ext cx="1814829" cy="806590"/>
      </dsp:txXfrm>
    </dsp:sp>
    <dsp:sp modelId="{F39AD17B-EE1C-44BB-8B46-FCBEED98B69A}">
      <dsp:nvSpPr>
        <dsp:cNvPr id="0" name=""/>
        <dsp:cNvSpPr/>
      </dsp:nvSpPr>
      <dsp:spPr>
        <a:xfrm>
          <a:off x="1614894" y="488550"/>
          <a:ext cx="2016476" cy="80659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Identify WF &amp; Step</a:t>
          </a:r>
        </a:p>
      </dsp:txBody>
      <dsp:txXfrm>
        <a:off x="2018189" y="488550"/>
        <a:ext cx="1209886" cy="806590"/>
      </dsp:txXfrm>
    </dsp:sp>
    <dsp:sp modelId="{948B5C10-C9AE-4169-96CF-A9DB1517502D}">
      <dsp:nvSpPr>
        <dsp:cNvPr id="0" name=""/>
        <dsp:cNvSpPr/>
      </dsp:nvSpPr>
      <dsp:spPr>
        <a:xfrm>
          <a:off x="3228075" y="488550"/>
          <a:ext cx="2016476" cy="80659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Create request for BOT ID</a:t>
          </a:r>
        </a:p>
      </dsp:txBody>
      <dsp:txXfrm>
        <a:off x="3631370" y="488550"/>
        <a:ext cx="1209886" cy="806590"/>
      </dsp:txXfrm>
    </dsp:sp>
    <dsp:sp modelId="{EF4EFC10-BDA5-4532-8C4C-7F9A3F73D8DD}">
      <dsp:nvSpPr>
        <dsp:cNvPr id="0" name=""/>
        <dsp:cNvSpPr/>
      </dsp:nvSpPr>
      <dsp:spPr>
        <a:xfrm>
          <a:off x="4841256" y="488550"/>
          <a:ext cx="2016476" cy="80659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Test BOT</a:t>
          </a:r>
        </a:p>
      </dsp:txBody>
      <dsp:txXfrm>
        <a:off x="5244551" y="488550"/>
        <a:ext cx="1209886" cy="806590"/>
      </dsp:txXfrm>
    </dsp:sp>
    <dsp:sp modelId="{B1B4D840-18C8-410A-8538-77C873F89C23}">
      <dsp:nvSpPr>
        <dsp:cNvPr id="0" name=""/>
        <dsp:cNvSpPr/>
      </dsp:nvSpPr>
      <dsp:spPr>
        <a:xfrm>
          <a:off x="6454437" y="488550"/>
          <a:ext cx="2016476" cy="80659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WF Owner Approval for BOT</a:t>
          </a:r>
        </a:p>
      </dsp:txBody>
      <dsp:txXfrm>
        <a:off x="6857732" y="488550"/>
        <a:ext cx="1209886" cy="806590"/>
      </dsp:txXfrm>
    </dsp:sp>
    <dsp:sp modelId="{8F63F1D1-2A1A-4976-9F34-70C60C9635AC}">
      <dsp:nvSpPr>
        <dsp:cNvPr id="0" name=""/>
        <dsp:cNvSpPr/>
      </dsp:nvSpPr>
      <dsp:spPr>
        <a:xfrm>
          <a:off x="8067618" y="488550"/>
          <a:ext cx="2016476" cy="80659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SP Deploys BOT</a:t>
          </a:r>
        </a:p>
      </dsp:txBody>
      <dsp:txXfrm>
        <a:off x="8470913" y="488550"/>
        <a:ext cx="1209886" cy="806590"/>
      </dsp:txXfrm>
    </dsp:sp>
    <dsp:sp modelId="{60A2FA1E-8D03-4D67-B625-D22FF2EA805F}">
      <dsp:nvSpPr>
        <dsp:cNvPr id="0" name=""/>
        <dsp:cNvSpPr/>
      </dsp:nvSpPr>
      <dsp:spPr>
        <a:xfrm>
          <a:off x="9680799" y="488550"/>
          <a:ext cx="2016476" cy="806590"/>
        </a:xfrm>
        <a:prstGeom prst="chevron">
          <a:avLst/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BOT ID Created</a:t>
          </a:r>
        </a:p>
      </dsp:txBody>
      <dsp:txXfrm>
        <a:off x="10084094" y="488550"/>
        <a:ext cx="1209886" cy="80659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23.wmf"/><Relationship Id="rId1" Type="http://schemas.openxmlformats.org/officeDocument/2006/relationships/image" Target="../media/image2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F6FD348-9C7F-4865-875C-863EC6E2CB8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/>
              <a:t> 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3294207-A46E-4F9A-91C9-BB4398CEA98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/>
              <a:t>2018-04-10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5105526-C577-427D-800D-7921EA16026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/>
              <a:t>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CA4CFA-39AC-4AB6-B521-EBDB0AF74AF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7AEDCC-D3AE-4D3E-A1AA-6BA600F277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4262122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Ericsson Hilda Light" panose="00000400000000000000" pitchFamily="2" charset="0"/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Ericsson Hilda Light" panose="00000400000000000000" pitchFamily="2" charset="0"/>
              </a:defRPr>
            </a:lvl1pPr>
          </a:lstStyle>
          <a:p>
            <a:r>
              <a:rPr lang="en-US"/>
              <a:t>2018-04-10 </a:t>
            </a:r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Ericsson Hilda Light" panose="00000400000000000000" pitchFamily="2" charset="0"/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Ericsson Hilda Light" panose="00000400000000000000" pitchFamily="2" charset="0"/>
              </a:defRPr>
            </a:lvl1pPr>
          </a:lstStyle>
          <a:p>
            <a:fld id="{F949BC75-2359-4F98-918A-7033C92AD48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3333820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14400" rtl="0" eaLnBrk="1" latinLnBrk="0" hangingPunct="1">
      <a:defRPr sz="1200" kern="1200">
        <a:solidFill>
          <a:schemeClr val="tx1"/>
        </a:solidFill>
        <a:latin typeface="Ericsson Hilda Light" panose="00000400000000000000" pitchFamily="2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Ericsson Hilda Light" panose="00000400000000000000" pitchFamily="2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Ericsson Hilda Light" panose="00000400000000000000" pitchFamily="2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Ericsson Hilda Light" panose="00000400000000000000" pitchFamily="2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Ericsson Hilda Light" panose="00000400000000000000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en-US"/>
              <a:t>2018-04-10 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FECA242-821C-4E88-9A26-AEFF7ABE39F7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227904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en-US"/>
              <a:t>2018-04-10 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FECA242-821C-4E88-9A26-AEFF7ABE39F7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329165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ricsson Hilda Light" panose="00000400000000000000" pitchFamily="2" charset="0"/>
                <a:ea typeface="+mn-ea"/>
                <a:cs typeface="+mn-cs"/>
              </a:rPr>
              <a:t>DT&amp;IT Strategy 2018-2022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ricsson Hilda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ricsson Hilda Light" panose="00000400000000000000" pitchFamily="2" charset="0"/>
                <a:ea typeface="+mn-ea"/>
                <a:cs typeface="+mn-cs"/>
              </a:rPr>
              <a:t>2018-07-10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ricsson Hilda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ricsson Hilda Light" panose="00000400000000000000" pitchFamily="2" charset="0"/>
                <a:ea typeface="+mn-ea"/>
                <a:cs typeface="+mn-cs"/>
              </a:rPr>
              <a:t>GFTB-18:000807 Uen, Rev D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ricsson Hilda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F65CE2-3A17-4907-A2F0-C87476555C0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ricsson Hilda Light" panose="000004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ricsson Hilda Light" panose="000004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833897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ricsson Hilda Light" panose="00000400000000000000" pitchFamily="2" charset="0"/>
                <a:ea typeface="+mn-ea"/>
                <a:cs typeface="+mn-cs"/>
              </a:rPr>
              <a:t>DT&amp;IT Strategy 2018-2022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ricsson Hilda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ricsson Hilda Light" panose="00000400000000000000" pitchFamily="2" charset="0"/>
                <a:ea typeface="+mn-ea"/>
                <a:cs typeface="+mn-cs"/>
              </a:rPr>
              <a:t>2018-07-10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ricsson Hilda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ricsson Hilda Light" panose="00000400000000000000" pitchFamily="2" charset="0"/>
                <a:ea typeface="+mn-ea"/>
                <a:cs typeface="+mn-cs"/>
              </a:rPr>
              <a:t>GFTB-18:000807 Uen, Rev D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ricsson Hilda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F65CE2-3A17-4907-A2F0-C87476555C0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ricsson Hilda Light" panose="000004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ricsson Hilda Light" panose="000004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941973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ricsson Hilda Light" panose="00000400000000000000" pitchFamily="2" charset="0"/>
                <a:ea typeface="+mn-ea"/>
                <a:cs typeface="+mn-cs"/>
              </a:rPr>
              <a:t>DT&amp;IT Strategy 2018-2022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ricsson Hilda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ricsson Hilda Light" panose="00000400000000000000" pitchFamily="2" charset="0"/>
                <a:ea typeface="+mn-ea"/>
                <a:cs typeface="+mn-cs"/>
              </a:rPr>
              <a:t>2018-07-10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ricsson Hilda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ricsson Hilda Light" panose="00000400000000000000" pitchFamily="2" charset="0"/>
                <a:ea typeface="+mn-ea"/>
                <a:cs typeface="+mn-cs"/>
              </a:rPr>
              <a:t>GFTB-18:000807 Uen, Rev D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ricsson Hilda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F65CE2-3A17-4907-A2F0-C87476555C0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ricsson Hilda Light" panose="000004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ricsson Hilda Light" panose="000004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38971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en-US"/>
              <a:t>2018-04-10 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FECA242-821C-4E88-9A26-AEFF7ABE39F7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464039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ricsson Hilda Light" panose="00000400000000000000" pitchFamily="2" charset="0"/>
                <a:ea typeface="+mn-ea"/>
                <a:cs typeface="+mn-cs"/>
              </a:rPr>
              <a:t>DT&amp;IT Strategy 2018-2022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ricsson Hilda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ricsson Hilda Light" panose="00000400000000000000" pitchFamily="2" charset="0"/>
                <a:ea typeface="+mn-ea"/>
                <a:cs typeface="+mn-cs"/>
              </a:rPr>
              <a:t>2018-07-10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ricsson Hilda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ricsson Hilda Light" panose="00000400000000000000" pitchFamily="2" charset="0"/>
                <a:ea typeface="+mn-ea"/>
                <a:cs typeface="+mn-cs"/>
              </a:rPr>
              <a:t>GFTB-18:000807 Uen, Rev D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ricsson Hilda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F65CE2-3A17-4907-A2F0-C87476555C0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ricsson Hilda Light" panose="000004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ricsson Hilda Light" panose="000004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253403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ricsson Hilda Light" panose="00000400000000000000" pitchFamily="2" charset="0"/>
                <a:ea typeface="+mn-ea"/>
                <a:cs typeface="+mn-cs"/>
              </a:rPr>
              <a:t>DT&amp;IT Strategy 2018-2022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ricsson Hilda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ricsson Hilda Light" panose="00000400000000000000" pitchFamily="2" charset="0"/>
                <a:ea typeface="+mn-ea"/>
                <a:cs typeface="+mn-cs"/>
              </a:rPr>
              <a:t>2018-07-10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ricsson Hilda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ricsson Hilda Light" panose="00000400000000000000" pitchFamily="2" charset="0"/>
                <a:ea typeface="+mn-ea"/>
                <a:cs typeface="+mn-cs"/>
              </a:rPr>
              <a:t>GFTB-18:000807 Uen, Rev D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ricsson Hilda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F65CE2-3A17-4907-A2F0-C87476555C0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ricsson Hilda Light" panose="000004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ricsson Hilda Light" panose="000004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728180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ricsson Hilda Light" panose="00000400000000000000" pitchFamily="2" charset="0"/>
                <a:ea typeface="+mn-ea"/>
                <a:cs typeface="+mn-cs"/>
              </a:rPr>
              <a:t>DT&amp;IT Strategy 2018-2022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ricsson Hilda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ricsson Hilda Light" panose="00000400000000000000" pitchFamily="2" charset="0"/>
                <a:ea typeface="+mn-ea"/>
                <a:cs typeface="+mn-cs"/>
              </a:rPr>
              <a:t>2018-07-10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ricsson Hilda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ricsson Hilda Light" panose="00000400000000000000" pitchFamily="2" charset="0"/>
                <a:ea typeface="+mn-ea"/>
                <a:cs typeface="+mn-cs"/>
              </a:rPr>
              <a:t>GFTB-18:000807 Uen, Rev D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ricsson Hilda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F65CE2-3A17-4907-A2F0-C87476555C0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ricsson Hilda Light" panose="000004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ricsson Hilda Light" panose="000004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697167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ricsson Hilda Light" panose="00000400000000000000" pitchFamily="2" charset="0"/>
                <a:ea typeface="+mn-ea"/>
                <a:cs typeface="+mn-cs"/>
              </a:rPr>
              <a:t>DT&amp;IT Strategy 2018-2022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ricsson Hilda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ricsson Hilda Light" panose="00000400000000000000" pitchFamily="2" charset="0"/>
                <a:ea typeface="+mn-ea"/>
                <a:cs typeface="+mn-cs"/>
              </a:rPr>
              <a:t>2018-07-10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ricsson Hilda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ricsson Hilda Light" panose="00000400000000000000" pitchFamily="2" charset="0"/>
                <a:ea typeface="+mn-ea"/>
                <a:cs typeface="+mn-cs"/>
              </a:rPr>
              <a:t>GFTB-18:000807 Uen, Rev D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ricsson Hilda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F65CE2-3A17-4907-A2F0-C87476555C0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ricsson Hilda Light" panose="000004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ricsson Hilda Light" panose="000004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478574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ricsson Hilda Light" panose="00000400000000000000" pitchFamily="2" charset="0"/>
                <a:ea typeface="+mn-ea"/>
                <a:cs typeface="+mn-cs"/>
              </a:rPr>
              <a:t>DT&amp;IT Strategy 2018-2022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ricsson Hilda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ricsson Hilda Light" panose="00000400000000000000" pitchFamily="2" charset="0"/>
                <a:ea typeface="+mn-ea"/>
                <a:cs typeface="+mn-cs"/>
              </a:rPr>
              <a:t>2018-07-10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ricsson Hilda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ricsson Hilda Light" panose="00000400000000000000" pitchFamily="2" charset="0"/>
                <a:ea typeface="+mn-ea"/>
                <a:cs typeface="+mn-cs"/>
              </a:rPr>
              <a:t>GFTB-18:000807 Uen, Rev D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ricsson Hilda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F65CE2-3A17-4907-A2F0-C87476555C0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ricsson Hilda Light" panose="000004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ricsson Hilda Light" panose="000004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26476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DT&amp;IT Strategy 2018-2022 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en-US"/>
              <a:t>2018-07-10 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GFTB-18:000807 Uen, Rev D 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7F65CE2-3A17-4907-A2F0-C87476555C07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217519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ricsson Hilda Light" panose="00000400000000000000" pitchFamily="2" charset="0"/>
                <a:ea typeface="+mn-ea"/>
                <a:cs typeface="+mn-cs"/>
              </a:rPr>
              <a:t>DT&amp;IT Strategy 2018-2022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ricsson Hilda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ricsson Hilda Light" panose="00000400000000000000" pitchFamily="2" charset="0"/>
                <a:ea typeface="+mn-ea"/>
                <a:cs typeface="+mn-cs"/>
              </a:rPr>
              <a:t>2018-07-10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ricsson Hilda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ricsson Hilda Light" panose="00000400000000000000" pitchFamily="2" charset="0"/>
                <a:ea typeface="+mn-ea"/>
                <a:cs typeface="+mn-cs"/>
              </a:rPr>
              <a:t>GFTB-18:000807 Uen, Rev D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ricsson Hilda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F65CE2-3A17-4907-A2F0-C87476555C0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ricsson Hilda Light" panose="000004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ricsson Hilda Light" panose="000004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8357485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ricsson Hilda Light" panose="00000400000000000000" pitchFamily="2" charset="0"/>
                <a:ea typeface="+mn-ea"/>
                <a:cs typeface="+mn-cs"/>
              </a:rPr>
              <a:t>DT&amp;IT Strategy 2018-2022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ricsson Hilda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ricsson Hilda Light" panose="00000400000000000000" pitchFamily="2" charset="0"/>
                <a:ea typeface="+mn-ea"/>
                <a:cs typeface="+mn-cs"/>
              </a:rPr>
              <a:t>2018-07-10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ricsson Hilda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ricsson Hilda Light" panose="00000400000000000000" pitchFamily="2" charset="0"/>
                <a:ea typeface="+mn-ea"/>
                <a:cs typeface="+mn-cs"/>
              </a:rPr>
              <a:t>GFTB-18:000807 Uen, Rev D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ricsson Hilda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F65CE2-3A17-4907-A2F0-C87476555C0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ricsson Hilda Light" panose="000004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ricsson Hilda Light" panose="000004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980128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en-US"/>
              <a:t>2018-04-10 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CC9A3AA-3054-408F-8FFA-7F31748666B3}" type="slidenum">
              <a:rPr lang="en-US" smtClean="0"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982294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DT&amp;IT Strategy 2018-2022 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en-US"/>
              <a:t>2018-07-10 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GFTB-18:000807 Uen, Rev D 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7F65CE2-3A17-4907-A2F0-C87476555C07}" type="slidenum">
              <a:rPr lang="en-US" smtClean="0"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72778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DT&amp;IT Strategy 2018-2022 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en-US"/>
              <a:t>2018-07-10 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GFTB-18:000807 Uen, Rev D 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7F65CE2-3A17-4907-A2F0-C87476555C07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84905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en-US"/>
              <a:t>2018-04-10 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FECA242-821C-4E88-9A26-AEFF7ABE39F7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2269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DT&amp;IT Strategy 2018-2022 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en-US"/>
              <a:t>2018-07-10 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GFTB-18:000807 Uen, Rev D 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7F65CE2-3A17-4907-A2F0-C87476555C07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44611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ricsson Hilda Light" panose="00000400000000000000" pitchFamily="2" charset="0"/>
                <a:ea typeface="+mn-ea"/>
                <a:cs typeface="+mn-cs"/>
              </a:rPr>
              <a:t>DT&amp;IT Strategy 2018-2022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ricsson Hilda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ricsson Hilda Light" panose="00000400000000000000" pitchFamily="2" charset="0"/>
                <a:ea typeface="+mn-ea"/>
                <a:cs typeface="+mn-cs"/>
              </a:rPr>
              <a:t>2018-07-10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ricsson Hilda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ricsson Hilda Light" panose="00000400000000000000" pitchFamily="2" charset="0"/>
                <a:ea typeface="+mn-ea"/>
                <a:cs typeface="+mn-cs"/>
              </a:rPr>
              <a:t>GFTB-18:000807 Uen, Rev D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ricsson Hilda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F65CE2-3A17-4907-A2F0-C87476555C0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ricsson Hilda Light" panose="000004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ricsson Hilda Light" panose="000004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00495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ricsson Hilda Light" panose="00000400000000000000" pitchFamily="2" charset="0"/>
                <a:ea typeface="+mn-ea"/>
                <a:cs typeface="+mn-cs"/>
              </a:rPr>
              <a:t>DT&amp;IT Strategy 2018-2022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ricsson Hilda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ricsson Hilda Light" panose="00000400000000000000" pitchFamily="2" charset="0"/>
                <a:ea typeface="+mn-ea"/>
                <a:cs typeface="+mn-cs"/>
              </a:rPr>
              <a:t>2018-07-10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ricsson Hilda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ricsson Hilda Light" panose="00000400000000000000" pitchFamily="2" charset="0"/>
                <a:ea typeface="+mn-ea"/>
                <a:cs typeface="+mn-cs"/>
              </a:rPr>
              <a:t>GFTB-18:000807 Uen, Rev D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ricsson Hilda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F65CE2-3A17-4907-A2F0-C87476555C0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ricsson Hilda Light" panose="000004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ricsson Hilda Light" panose="000004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4658645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DT&amp;IT Strategy 2018-2022 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en-US"/>
              <a:t>2018-07-10 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GFTB-18:000807 Uen, Rev D 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7F65CE2-3A17-4907-A2F0-C87476555C07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430735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ricsson Hilda Light" panose="00000400000000000000" pitchFamily="2" charset="0"/>
                <a:ea typeface="+mn-ea"/>
                <a:cs typeface="+mn-cs"/>
              </a:rPr>
              <a:t>DT&amp;IT Strategy 2018-2022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ricsson Hilda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ricsson Hilda Light" panose="00000400000000000000" pitchFamily="2" charset="0"/>
                <a:ea typeface="+mn-ea"/>
                <a:cs typeface="+mn-cs"/>
              </a:rPr>
              <a:t>2018-07-10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ricsson Hilda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ricsson Hilda Light" panose="00000400000000000000" pitchFamily="2" charset="0"/>
                <a:ea typeface="+mn-ea"/>
                <a:cs typeface="+mn-cs"/>
              </a:rPr>
              <a:t>GFTB-18:000807 Uen, Rev D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ricsson Hilda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F65CE2-3A17-4907-A2F0-C87476555C0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ricsson Hilda Light" panose="000004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ricsson Hilda Light" panose="000004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5249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Title_TM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5" y="476250"/>
            <a:ext cx="8353426" cy="3457576"/>
          </a:xfrm>
        </p:spPr>
        <p:txBody>
          <a:bodyPr/>
          <a:lstStyle>
            <a:lvl1pPr>
              <a:lnSpc>
                <a:spcPct val="85000"/>
              </a:lnSpc>
              <a:defRPr sz="6000" b="0" kern="1400" spc="-160" baseline="0">
                <a:latin typeface="+mj-lt"/>
              </a:defRPr>
            </a:lvl1pPr>
          </a:lstStyle>
          <a:p>
            <a:r>
              <a:rPr lang="en-US" dirty="0"/>
              <a:t>Presentation title,</a:t>
            </a:r>
            <a:br>
              <a:rPr lang="en-US" dirty="0"/>
            </a:br>
            <a:r>
              <a:rPr lang="en-US" dirty="0"/>
              <a:t>Ericsson Hilda Light 60pt,</a:t>
            </a:r>
            <a:br>
              <a:rPr lang="en-US" dirty="0"/>
            </a:br>
            <a:r>
              <a:rPr lang="en-US" dirty="0"/>
              <a:t>Ericsson Black,</a:t>
            </a:r>
            <a:br>
              <a:rPr lang="en-US" dirty="0"/>
            </a:br>
            <a:r>
              <a:rPr lang="en-US" dirty="0"/>
              <a:t>max 4-lines</a:t>
            </a:r>
          </a:p>
        </p:txBody>
      </p:sp>
      <p:sp>
        <p:nvSpPr>
          <p:cNvPr id="22530" name="SubTitle_TM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5" y="4149725"/>
            <a:ext cx="5472114" cy="2087563"/>
          </a:xfrm>
          <a:prstGeom prst="rect">
            <a:avLst/>
          </a:prstGeom>
        </p:spPr>
        <p:txBody>
          <a:bodyPr lIns="7200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Presentation description/subtitle</a:t>
            </a:r>
            <a:br>
              <a:rPr lang="en-US" dirty="0"/>
            </a:br>
            <a:r>
              <a:rPr lang="en-US" dirty="0"/>
              <a:t>Ericsson Hilda 20p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6689214" y="6237287"/>
            <a:ext cx="2469030" cy="287336"/>
          </a:xfrm>
          <a:prstGeom prst="rect">
            <a:avLst/>
          </a:prstGeom>
        </p:spPr>
        <p:txBody>
          <a:bodyPr anchor="b"/>
          <a:lstStyle>
            <a:lvl1pPr marL="0" indent="0" algn="r">
              <a:buNone/>
              <a:defRPr sz="1200">
                <a:latin typeface="+mn-lt"/>
              </a:defRPr>
            </a:lvl1pPr>
          </a:lstStyle>
          <a:p>
            <a:r>
              <a:rPr lang="en-US" dirty="0"/>
              <a:t>Speaker nam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1" hasCustomPrompt="1"/>
          </p:nvPr>
        </p:nvSpPr>
        <p:spPr>
          <a:xfrm>
            <a:off x="9281601" y="6237286"/>
            <a:ext cx="1463040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rIns="0" anchor="b"/>
          <a:lstStyle>
            <a:lvl1pPr marL="0" indent="0" algn="ctr">
              <a:buNone/>
              <a:defRPr lang="en-US" sz="1200" dirty="0">
                <a:latin typeface="+mn-lt"/>
              </a:defRPr>
            </a:lvl1pPr>
          </a:lstStyle>
          <a:p>
            <a:r>
              <a:rPr lang="en-US" dirty="0"/>
              <a:t>Organization</a:t>
            </a:r>
          </a:p>
        </p:txBody>
      </p:sp>
      <p:sp>
        <p:nvSpPr>
          <p:cNvPr id="15" name="Content Placeholder 11"/>
          <p:cNvSpPr>
            <a:spLocks noGrp="1"/>
          </p:cNvSpPr>
          <p:nvPr>
            <p:ph sz="quarter" idx="12" hasCustomPrompt="1"/>
          </p:nvPr>
        </p:nvSpPr>
        <p:spPr>
          <a:xfrm>
            <a:off x="10811951" y="6237287"/>
            <a:ext cx="897503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tIns="0" rIns="0" anchor="b"/>
          <a:lstStyle>
            <a:lvl1pPr marL="0" indent="0" algn="ctr">
              <a:buNone/>
              <a:defRPr lang="en-US" sz="1200" dirty="0">
                <a:latin typeface="+mn-lt"/>
              </a:defRPr>
            </a:lvl1pPr>
          </a:lstStyle>
          <a:p>
            <a:pPr lvl="0"/>
            <a:r>
              <a:rPr lang="en-US" dirty="0"/>
              <a:t>YYYY-MM-DD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7BE5E08-5EB6-4E17-8FB8-40199F9803E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2514" y="476250"/>
            <a:ext cx="190061" cy="256032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74575616"/>
      </p:ext>
    </p:extLst>
  </p:cSld>
  <p:clrMapOvr>
    <a:masterClrMapping/>
  </p:clrMapOvr>
  <p:hf sldNum="0" hdr="0" ftr="0"/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P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  <a:extLst/>
        </p:spPr>
        <p:txBody>
          <a:bodyPr wrap="none" lIns="72000" rIns="72000"/>
          <a:lstStyle>
            <a:lvl1pPr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1pPr>
            <a:lvl2pPr marL="742950" indent="-28575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2pPr>
            <a:lvl3pPr marL="11430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3pPr>
            <a:lvl4pPr marL="16002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4pPr>
            <a:lvl5pPr marL="20574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ricsson Hilda Light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ricsson Hilda Light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ricsson Hilda Light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ricsson Hilda Light" pitchFamily="34" charset="0"/>
              </a:defRPr>
            </a:lvl9pPr>
          </a:lstStyle>
          <a:p>
            <a:pPr eaLnBrk="1" hangingPunct="1">
              <a:defRPr/>
            </a:pPr>
            <a:endParaRPr lang="en-US" altLang="en-US" dirty="0">
              <a:latin typeface="Ericsson Hilda Light" panose="00000400000000000000" pitchFamily="2" charset="0"/>
            </a:endParaRPr>
          </a:p>
        </p:txBody>
      </p:sp>
      <p:pic>
        <p:nvPicPr>
          <p:cNvPr id="9" name="Picture 11">
            <a:extLst>
              <a:ext uri="{FF2B5EF4-FFF2-40B4-BE49-F238E27FC236}">
                <a16:creationId xmlns:a16="http://schemas.microsoft.com/office/drawing/2014/main" id="{C3A76CF7-278B-4F6E-9A79-EDD59651DFA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22391" y="476250"/>
            <a:ext cx="190184" cy="256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_TM">
            <a:extLst>
              <a:ext uri="{FF2B5EF4-FFF2-40B4-BE49-F238E27FC236}">
                <a16:creationId xmlns:a16="http://schemas.microsoft.com/office/drawing/2014/main" id="{F1368AB3-821C-4A71-B119-C0A8AA44A93F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5" y="476250"/>
            <a:ext cx="8353426" cy="3457575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 lang="en-US" sz="60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hapter/section divider or Statement/fact/quote, </a:t>
            </a:r>
            <a:br>
              <a:rPr lang="en-US" dirty="0"/>
            </a:br>
            <a:r>
              <a:rPr lang="en-US" dirty="0"/>
              <a:t>Ericsson Hilda Light 60pt, </a:t>
            </a:r>
            <a:br>
              <a:rPr lang="en-US" dirty="0"/>
            </a:br>
            <a:r>
              <a:rPr lang="en-US" dirty="0"/>
              <a:t>Ericsson White, </a:t>
            </a:r>
            <a:br>
              <a:rPr lang="en-US" dirty="0"/>
            </a:br>
            <a:r>
              <a:rPr lang="en-US" dirty="0"/>
              <a:t>max 5-lines</a:t>
            </a:r>
          </a:p>
        </p:txBody>
      </p:sp>
      <p:sp>
        <p:nvSpPr>
          <p:cNvPr id="11" name="SubTitle_TM">
            <a:extLst>
              <a:ext uri="{FF2B5EF4-FFF2-40B4-BE49-F238E27FC236}">
                <a16:creationId xmlns:a16="http://schemas.microsoft.com/office/drawing/2014/main" id="{8561E9FC-533B-4891-A7E3-A3DDB1BD26FB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80218" y="4149725"/>
            <a:ext cx="5472113" cy="2087563"/>
          </a:xfrm>
          <a:prstGeom prst="rect">
            <a:avLst/>
          </a:prstGeom>
        </p:spPr>
        <p:txBody>
          <a:bodyPr r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Statement/quote source, </a:t>
            </a:r>
          </a:p>
          <a:p>
            <a:r>
              <a:rPr lang="en-US" dirty="0"/>
              <a:t>Ericsson White, Ericsson Hilda 20pt</a:t>
            </a:r>
          </a:p>
        </p:txBody>
      </p:sp>
    </p:spTree>
    <p:extLst>
      <p:ext uri="{BB962C8B-B14F-4D97-AF65-F5344CB8AC3E}">
        <p14:creationId xmlns:p14="http://schemas.microsoft.com/office/powerpoint/2010/main" val="3593654033"/>
      </p:ext>
    </p:extLst>
  </p:cSld>
  <p:clrMapOvr>
    <a:masterClrMapping/>
  </p:clrMapOvr>
  <p:hf sldNum="0" hdr="0" ft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Pag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  <a:extLst/>
        </p:spPr>
        <p:txBody>
          <a:bodyPr wrap="none" lIns="72000" rIns="72000"/>
          <a:lstStyle>
            <a:lvl1pPr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1pPr>
            <a:lvl2pPr marL="742950" indent="-28575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2pPr>
            <a:lvl3pPr marL="11430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3pPr>
            <a:lvl4pPr marL="16002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4pPr>
            <a:lvl5pPr marL="20574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ricsson Hilda Light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ricsson Hilda Light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ricsson Hilda Light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ricsson Hilda Light" pitchFamily="34" charset="0"/>
              </a:defRPr>
            </a:lvl9pPr>
          </a:lstStyle>
          <a:p>
            <a:pPr eaLnBrk="1" hangingPunct="1">
              <a:defRPr/>
            </a:pPr>
            <a:endParaRPr lang="en-US" altLang="en-US" dirty="0">
              <a:latin typeface="Ericsson Hilda Light" panose="00000400000000000000" pitchFamily="2" charset="0"/>
            </a:endParaRPr>
          </a:p>
        </p:txBody>
      </p:sp>
      <p:pic>
        <p:nvPicPr>
          <p:cNvPr id="9" name="Picture 11">
            <a:extLst>
              <a:ext uri="{FF2B5EF4-FFF2-40B4-BE49-F238E27FC236}">
                <a16:creationId xmlns:a16="http://schemas.microsoft.com/office/drawing/2014/main" id="{0959A7C1-92EF-44AF-97F7-F3E9057FC7B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22391" y="476250"/>
            <a:ext cx="190184" cy="256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itle_TM">
            <a:extLst>
              <a:ext uri="{FF2B5EF4-FFF2-40B4-BE49-F238E27FC236}">
                <a16:creationId xmlns:a16="http://schemas.microsoft.com/office/drawing/2014/main" id="{93CB56C1-2916-4C60-8532-A023564D2C57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4" y="476250"/>
            <a:ext cx="8353425" cy="3457575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 lang="en-US" sz="60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hapter/section divider or Statement/fact/quote, </a:t>
            </a:r>
            <a:br>
              <a:rPr lang="en-US" dirty="0"/>
            </a:br>
            <a:r>
              <a:rPr lang="en-US" dirty="0"/>
              <a:t>Ericsson Hilda Light 60pt, </a:t>
            </a:r>
            <a:br>
              <a:rPr lang="en-US" dirty="0"/>
            </a:br>
            <a:r>
              <a:rPr lang="en-US" dirty="0"/>
              <a:t>Ericsson White, </a:t>
            </a:r>
            <a:br>
              <a:rPr lang="en-US" dirty="0"/>
            </a:br>
            <a:r>
              <a:rPr lang="en-US" dirty="0"/>
              <a:t>max 5-lines</a:t>
            </a:r>
          </a:p>
        </p:txBody>
      </p:sp>
      <p:sp>
        <p:nvSpPr>
          <p:cNvPr id="13" name="SubTitle_TM">
            <a:extLst>
              <a:ext uri="{FF2B5EF4-FFF2-40B4-BE49-F238E27FC236}">
                <a16:creationId xmlns:a16="http://schemas.microsoft.com/office/drawing/2014/main" id="{61DC6511-5700-4E95-89CA-81484C248C03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5" y="4149725"/>
            <a:ext cx="5472113" cy="2087563"/>
          </a:xfrm>
          <a:prstGeom prst="rect">
            <a:avLst/>
          </a:prstGeom>
        </p:spPr>
        <p:txBody>
          <a:bodyPr r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Statement/quote source, </a:t>
            </a:r>
          </a:p>
          <a:p>
            <a:r>
              <a:rPr lang="en-US" dirty="0"/>
              <a:t>Ericsson White, Ericsson Hilda 20pt</a:t>
            </a:r>
          </a:p>
        </p:txBody>
      </p:sp>
    </p:spTree>
    <p:extLst>
      <p:ext uri="{BB962C8B-B14F-4D97-AF65-F5344CB8AC3E}">
        <p14:creationId xmlns:p14="http://schemas.microsoft.com/office/powerpoint/2010/main" val="4136202525"/>
      </p:ext>
    </p:extLst>
  </p:cSld>
  <p:clrMapOvr>
    <a:masterClrMapping/>
  </p:clrMapOvr>
  <p:hf sldNum="0" hdr="0" ft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Pag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  <a:extLst/>
        </p:spPr>
        <p:txBody>
          <a:bodyPr wrap="none" lIns="72000" rIns="72000"/>
          <a:lstStyle>
            <a:lvl1pPr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1pPr>
            <a:lvl2pPr marL="742950" indent="-28575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2pPr>
            <a:lvl3pPr marL="11430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3pPr>
            <a:lvl4pPr marL="16002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4pPr>
            <a:lvl5pPr marL="20574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ricsson Hilda Light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ricsson Hilda Light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ricsson Hilda Light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ricsson Hilda Light" pitchFamily="34" charset="0"/>
              </a:defRPr>
            </a:lvl9pPr>
          </a:lstStyle>
          <a:p>
            <a:pPr eaLnBrk="1" hangingPunct="1">
              <a:defRPr/>
            </a:pPr>
            <a:endParaRPr lang="en-US" altLang="en-US" dirty="0">
              <a:latin typeface="Ericsson Hilda Light" panose="00000400000000000000" pitchFamily="2" charset="0"/>
            </a:endParaRPr>
          </a:p>
        </p:txBody>
      </p:sp>
      <p:pic>
        <p:nvPicPr>
          <p:cNvPr id="9" name="Picture 11">
            <a:extLst>
              <a:ext uri="{FF2B5EF4-FFF2-40B4-BE49-F238E27FC236}">
                <a16:creationId xmlns:a16="http://schemas.microsoft.com/office/drawing/2014/main" id="{0959A7C1-92EF-44AF-97F7-F3E9057FC7B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22391" y="476250"/>
            <a:ext cx="190184" cy="256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itle_TM">
            <a:extLst>
              <a:ext uri="{FF2B5EF4-FFF2-40B4-BE49-F238E27FC236}">
                <a16:creationId xmlns:a16="http://schemas.microsoft.com/office/drawing/2014/main" id="{93CB56C1-2916-4C60-8532-A023564D2C57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4" y="476250"/>
            <a:ext cx="8353425" cy="3457575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 lang="en-US" sz="60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hapter/section divider or Statement/fact/quote, </a:t>
            </a:r>
            <a:br>
              <a:rPr lang="en-US" dirty="0"/>
            </a:br>
            <a:r>
              <a:rPr lang="en-US" dirty="0"/>
              <a:t>Ericsson Hilda Light 60pt, </a:t>
            </a:r>
            <a:br>
              <a:rPr lang="en-US" dirty="0"/>
            </a:br>
            <a:r>
              <a:rPr lang="en-US" dirty="0"/>
              <a:t>Ericsson White, </a:t>
            </a:r>
            <a:br>
              <a:rPr lang="en-US" dirty="0"/>
            </a:br>
            <a:r>
              <a:rPr lang="en-US" dirty="0"/>
              <a:t>max 5-lines</a:t>
            </a:r>
          </a:p>
        </p:txBody>
      </p:sp>
      <p:sp>
        <p:nvSpPr>
          <p:cNvPr id="13" name="SubTitle_TM">
            <a:extLst>
              <a:ext uri="{FF2B5EF4-FFF2-40B4-BE49-F238E27FC236}">
                <a16:creationId xmlns:a16="http://schemas.microsoft.com/office/drawing/2014/main" id="{61DC6511-5700-4E95-89CA-81484C248C03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5" y="4149725"/>
            <a:ext cx="5472113" cy="2087563"/>
          </a:xfrm>
          <a:prstGeom prst="rect">
            <a:avLst/>
          </a:prstGeom>
        </p:spPr>
        <p:txBody>
          <a:bodyPr r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Statement/quote source, </a:t>
            </a:r>
          </a:p>
          <a:p>
            <a:r>
              <a:rPr lang="en-US" dirty="0"/>
              <a:t>Ericsson White, Ericsson Hilda 20pt</a:t>
            </a:r>
          </a:p>
        </p:txBody>
      </p:sp>
    </p:spTree>
    <p:extLst>
      <p:ext uri="{BB962C8B-B14F-4D97-AF65-F5344CB8AC3E}">
        <p14:creationId xmlns:p14="http://schemas.microsoft.com/office/powerpoint/2010/main" val="1267818655"/>
      </p:ext>
    </p:extLst>
  </p:cSld>
  <p:clrMapOvr>
    <a:masterClrMapping/>
  </p:clrMapOvr>
  <p:hf sldNum="0" hdr="0" ft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Pag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5EA31692-921B-434F-B398-8E2B345D16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2514" y="476250"/>
            <a:ext cx="190061" cy="256032"/>
          </a:xfrm>
          <a:prstGeom prst="rect">
            <a:avLst/>
          </a:prstGeom>
          <a:ln>
            <a:noFill/>
          </a:ln>
        </p:spPr>
      </p:pic>
      <p:sp>
        <p:nvSpPr>
          <p:cNvPr id="9" name="Title_TM">
            <a:extLst>
              <a:ext uri="{FF2B5EF4-FFF2-40B4-BE49-F238E27FC236}">
                <a16:creationId xmlns:a16="http://schemas.microsoft.com/office/drawing/2014/main" id="{696C7C8F-5086-466A-8108-2FE0A8663D59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5" y="476250"/>
            <a:ext cx="8353426" cy="3457575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 lang="en-US" sz="60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hapter/section divider or Statement/fact/quote, </a:t>
            </a:r>
            <a:br>
              <a:rPr lang="en-US" dirty="0"/>
            </a:br>
            <a:r>
              <a:rPr lang="en-US" dirty="0"/>
              <a:t>Ericsson Hilda Light 60pt, </a:t>
            </a:r>
            <a:br>
              <a:rPr lang="en-US" dirty="0"/>
            </a:br>
            <a:r>
              <a:rPr lang="en-US" dirty="0"/>
              <a:t>Ericsson Black, </a:t>
            </a:r>
            <a:br>
              <a:rPr lang="en-US" dirty="0"/>
            </a:br>
            <a:r>
              <a:rPr lang="en-US" dirty="0"/>
              <a:t>max 5-lines</a:t>
            </a:r>
          </a:p>
        </p:txBody>
      </p:sp>
      <p:sp>
        <p:nvSpPr>
          <p:cNvPr id="10" name="SubTitle_TM">
            <a:extLst>
              <a:ext uri="{FF2B5EF4-FFF2-40B4-BE49-F238E27FC236}">
                <a16:creationId xmlns:a16="http://schemas.microsoft.com/office/drawing/2014/main" id="{ED5DEA0B-CF0D-4EE6-B6A8-90BAF3DE8AF1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5" y="4149725"/>
            <a:ext cx="5472114" cy="2087563"/>
          </a:xfrm>
          <a:prstGeom prst="rect">
            <a:avLst/>
          </a:prstGeom>
        </p:spPr>
        <p:txBody>
          <a:bodyPr r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Statement/quote source, </a:t>
            </a:r>
          </a:p>
          <a:p>
            <a:r>
              <a:rPr lang="en-US" dirty="0"/>
              <a:t>Ericsson Black, Ericsson Hilda 20pt</a:t>
            </a:r>
          </a:p>
        </p:txBody>
      </p:sp>
    </p:spTree>
    <p:extLst>
      <p:ext uri="{BB962C8B-B14F-4D97-AF65-F5344CB8AC3E}">
        <p14:creationId xmlns:p14="http://schemas.microsoft.com/office/powerpoint/2010/main" val="3355176887"/>
      </p:ext>
    </p:extLst>
  </p:cSld>
  <p:clrMapOvr>
    <a:masterClrMapping/>
  </p:clrMapOvr>
  <p:hf sldNum="0" hdr="0" ft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/Sectio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Title_TM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5" y="476251"/>
            <a:ext cx="8353425" cy="3457574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 lang="en-US" sz="6000" b="0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hapter/section, </a:t>
            </a:r>
            <a:br>
              <a:rPr lang="en-US" dirty="0"/>
            </a:br>
            <a:r>
              <a:rPr lang="en-US" dirty="0"/>
              <a:t>Ericsson Hilda Light 60pt, Ericsson Black, </a:t>
            </a:r>
            <a:br>
              <a:rPr lang="en-US" dirty="0"/>
            </a:br>
            <a:r>
              <a:rPr lang="en-US" dirty="0"/>
              <a:t>max 4-lin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3B3A147-5510-431A-9FDB-044AD1A359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2514" y="476251"/>
            <a:ext cx="190061" cy="256032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93964376"/>
      </p:ext>
    </p:extLst>
  </p:cSld>
  <p:clrMapOvr>
    <a:masterClrMapping/>
  </p:clrMapOvr>
  <p:hf sldNum="0" hdr="0" ft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593328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8353425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</p:spTree>
    <p:extLst>
      <p:ext uri="{BB962C8B-B14F-4D97-AF65-F5344CB8AC3E}">
        <p14:creationId xmlns:p14="http://schemas.microsoft.com/office/powerpoint/2010/main" val="34154561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0CFEFC-6AC8-4817-A0D3-6029D48BD29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9425" y="1844675"/>
            <a:ext cx="11233150" cy="4392612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9331677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1 smaller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0CFEFC-6AC8-4817-A0D3-6029D48BD29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9425" y="1844675"/>
            <a:ext cx="8353426" cy="4392612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6079995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title, 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479425" y="1844675"/>
            <a:ext cx="5472113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6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8353425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</p:spTree>
    <p:extLst>
      <p:ext uri="{BB962C8B-B14F-4D97-AF65-F5344CB8AC3E}">
        <p14:creationId xmlns:p14="http://schemas.microsoft.com/office/powerpoint/2010/main" val="41146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 w. Brigh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9A763E3F-D546-48DC-86FC-898851FBC7B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                                                                         Click icon to add a bright image</a:t>
            </a:r>
          </a:p>
        </p:txBody>
      </p:sp>
      <p:sp>
        <p:nvSpPr>
          <p:cNvPr id="22531" name="Title_TM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5" y="476250"/>
            <a:ext cx="8353426" cy="2330958"/>
          </a:xfrm>
        </p:spPr>
        <p:txBody>
          <a:bodyPr/>
          <a:lstStyle>
            <a:lvl1pPr>
              <a:lnSpc>
                <a:spcPct val="85000"/>
              </a:lnSpc>
              <a:defRPr sz="6000" b="0" kern="1400" spc="-160" baseline="0">
                <a:latin typeface="+mj-lt"/>
              </a:defRPr>
            </a:lvl1pPr>
          </a:lstStyle>
          <a:p>
            <a:r>
              <a:rPr lang="en-US" dirty="0"/>
              <a:t>Presentation title,</a:t>
            </a:r>
            <a:br>
              <a:rPr lang="en-US" dirty="0"/>
            </a:br>
            <a:r>
              <a:rPr lang="en-US" dirty="0"/>
              <a:t>Ericsson Hilda Light 60pt,</a:t>
            </a:r>
            <a:br>
              <a:rPr lang="en-US" dirty="0"/>
            </a:br>
            <a:r>
              <a:rPr lang="en-US" dirty="0"/>
              <a:t>Ericsson Black,</a:t>
            </a:r>
            <a:br>
              <a:rPr lang="en-US" dirty="0"/>
            </a:br>
            <a:r>
              <a:rPr lang="en-US" dirty="0"/>
              <a:t>max 4-lines</a:t>
            </a:r>
          </a:p>
        </p:txBody>
      </p:sp>
      <p:sp>
        <p:nvSpPr>
          <p:cNvPr id="22530" name="SubTitle_TM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5" y="4149725"/>
            <a:ext cx="5472114" cy="2087563"/>
          </a:xfrm>
          <a:prstGeom prst="rect">
            <a:avLst/>
          </a:prstGeom>
        </p:spPr>
        <p:txBody>
          <a:bodyPr lIns="7200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Presentation description/subtitle</a:t>
            </a:r>
            <a:br>
              <a:rPr lang="en-US" dirty="0"/>
            </a:br>
            <a:r>
              <a:rPr lang="en-US" dirty="0"/>
              <a:t>Ericsson Hilda 20p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6689214" y="6237287"/>
            <a:ext cx="2469030" cy="287336"/>
          </a:xfrm>
          <a:prstGeom prst="rect">
            <a:avLst/>
          </a:prstGeom>
        </p:spPr>
        <p:txBody>
          <a:bodyPr anchor="b"/>
          <a:lstStyle>
            <a:lvl1pPr marL="0" indent="0" algn="r">
              <a:buNone/>
              <a:defRPr sz="1200">
                <a:latin typeface="+mn-lt"/>
              </a:defRPr>
            </a:lvl1pPr>
          </a:lstStyle>
          <a:p>
            <a:r>
              <a:rPr lang="en-US" dirty="0"/>
              <a:t>Speaker nam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1" hasCustomPrompt="1"/>
          </p:nvPr>
        </p:nvSpPr>
        <p:spPr>
          <a:xfrm>
            <a:off x="9281601" y="6237286"/>
            <a:ext cx="1463040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rIns="0" anchor="b"/>
          <a:lstStyle>
            <a:lvl1pPr marL="0" indent="0" algn="ctr">
              <a:buNone/>
              <a:defRPr lang="en-US" sz="1200" dirty="0">
                <a:latin typeface="+mn-lt"/>
              </a:defRPr>
            </a:lvl1pPr>
          </a:lstStyle>
          <a:p>
            <a:r>
              <a:rPr lang="en-US" dirty="0"/>
              <a:t>Organization</a:t>
            </a:r>
          </a:p>
        </p:txBody>
      </p:sp>
      <p:sp>
        <p:nvSpPr>
          <p:cNvPr id="15" name="Content Placeholder 11"/>
          <p:cNvSpPr>
            <a:spLocks noGrp="1"/>
          </p:cNvSpPr>
          <p:nvPr>
            <p:ph sz="quarter" idx="12" hasCustomPrompt="1"/>
          </p:nvPr>
        </p:nvSpPr>
        <p:spPr>
          <a:xfrm>
            <a:off x="10811951" y="6237287"/>
            <a:ext cx="897503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tIns="0" rIns="0" anchor="b"/>
          <a:lstStyle>
            <a:lvl1pPr marL="0" indent="0" algn="ctr">
              <a:buNone/>
              <a:defRPr lang="en-US" sz="1200" dirty="0">
                <a:latin typeface="+mn-lt"/>
              </a:defRPr>
            </a:lvl1pPr>
          </a:lstStyle>
          <a:p>
            <a:pPr lvl="0"/>
            <a:r>
              <a:rPr lang="en-US" dirty="0"/>
              <a:t>YYYY-MM-DD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7BE5E08-5EB6-4E17-8FB8-40199F9803E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2514" y="476250"/>
            <a:ext cx="190061" cy="256032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99758604"/>
      </p:ext>
    </p:extLst>
  </p:cSld>
  <p:clrMapOvr>
    <a:masterClrMapping/>
  </p:clrMapOvr>
  <p:hf sldNum="0" hdr="0" ftr="0"/>
  <p:extLst mod="1"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, 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479425" y="1844675"/>
            <a:ext cx="5472113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6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5472113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. Hilda Light 40pt, </a:t>
            </a:r>
            <a:r>
              <a:rPr lang="en-US" dirty="0" err="1"/>
              <a:t>Eri</a:t>
            </a:r>
            <a:r>
              <a:rPr lang="en-US" dirty="0"/>
              <a:t>. Black, max 2-lines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F5F844D-0CF3-4814-B0DE-3D27A83936F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/>
            </a:lvl1pPr>
          </a:lstStyle>
          <a:p>
            <a:r>
              <a:rPr lang="en-US" dirty="0"/>
              <a:t>     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5843472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title, lef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6240463" y="1844675"/>
            <a:ext cx="5472112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6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</p:spTree>
    <p:extLst>
      <p:ext uri="{BB962C8B-B14F-4D97-AF65-F5344CB8AC3E}">
        <p14:creationId xmlns:p14="http://schemas.microsoft.com/office/powerpoint/2010/main" val="252237355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, lef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6240463" y="1844675"/>
            <a:ext cx="5472112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6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6240463" y="476250"/>
            <a:ext cx="4924362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max 2-lines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0349585-9F54-46CC-8CEC-052CD1853EC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/>
            </a:lvl1pPr>
          </a:lstStyle>
          <a:p>
            <a:r>
              <a:rPr lang="en-US" dirty="0"/>
              <a:t>      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73198187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3"/>
          <p:cNvSpPr>
            <a:spLocks noGrp="1"/>
          </p:cNvSpPr>
          <p:nvPr>
            <p:ph sz="quarter" idx="3" hasCustomPrompt="1"/>
          </p:nvPr>
        </p:nvSpPr>
        <p:spPr>
          <a:xfrm>
            <a:off x="6240463" y="1844674"/>
            <a:ext cx="5472112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479425" y="1844675"/>
            <a:ext cx="5472113" cy="4392612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7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</p:spTree>
    <p:extLst>
      <p:ext uri="{BB962C8B-B14F-4D97-AF65-F5344CB8AC3E}">
        <p14:creationId xmlns:p14="http://schemas.microsoft.com/office/powerpoint/2010/main" val="67588381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narrow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quarter" idx="12" hasCustomPrompt="1"/>
          </p:nvPr>
        </p:nvSpPr>
        <p:spPr>
          <a:xfrm>
            <a:off x="9120188" y="1844674"/>
            <a:ext cx="2592387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1" hasCustomPrompt="1"/>
          </p:nvPr>
        </p:nvSpPr>
        <p:spPr>
          <a:xfrm>
            <a:off x="6240463" y="1844674"/>
            <a:ext cx="2592388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  <p:sp>
        <p:nvSpPr>
          <p:cNvPr id="5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</p:spTree>
    <p:extLst>
      <p:ext uri="{BB962C8B-B14F-4D97-AF65-F5344CB8AC3E}">
        <p14:creationId xmlns:p14="http://schemas.microsoft.com/office/powerpoint/2010/main" val="19222141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right image with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479424" y="1844675"/>
            <a:ext cx="5472113" cy="2089150"/>
          </a:xfrm>
          <a:prstGeom prst="rect">
            <a:avLst/>
          </a:prstGeom>
        </p:spPr>
        <p:txBody>
          <a:bodyPr lIns="72000" tIns="36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idx="1" hasCustomPrompt="1"/>
          </p:nvPr>
        </p:nvSpPr>
        <p:spPr>
          <a:xfrm>
            <a:off x="479425" y="4149724"/>
            <a:ext cx="5472113" cy="2087564"/>
          </a:xfrm>
          <a:prstGeom prst="rect">
            <a:avLst/>
          </a:prstGeom>
        </p:spPr>
        <p:txBody>
          <a:bodyPr lIns="72000" tIns="36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7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6250" y="476250"/>
            <a:ext cx="8356600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</p:spTree>
    <p:extLst>
      <p:ext uri="{BB962C8B-B14F-4D97-AF65-F5344CB8AC3E}">
        <p14:creationId xmlns:p14="http://schemas.microsoft.com/office/powerpoint/2010/main" val="163120207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left image with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6240463" y="1844674"/>
            <a:ext cx="5472112" cy="2089151"/>
          </a:xfrm>
          <a:prstGeom prst="rect">
            <a:avLst/>
          </a:prstGeom>
        </p:spPr>
        <p:txBody>
          <a:bodyPr lIns="72000" tIns="36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idx="1" hasCustomPrompt="1"/>
          </p:nvPr>
        </p:nvSpPr>
        <p:spPr>
          <a:xfrm>
            <a:off x="6240463" y="4149724"/>
            <a:ext cx="5472112" cy="2087564"/>
          </a:xfrm>
          <a:prstGeom prst="rect">
            <a:avLst/>
          </a:prstGeom>
        </p:spPr>
        <p:txBody>
          <a:bodyPr lIns="72000" tIns="36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7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8353425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</p:spTree>
    <p:extLst>
      <p:ext uri="{BB962C8B-B14F-4D97-AF65-F5344CB8AC3E}">
        <p14:creationId xmlns:p14="http://schemas.microsoft.com/office/powerpoint/2010/main" val="18506414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two horizontal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sz="quarter" idx="11" hasCustomPrompt="1"/>
          </p:nvPr>
        </p:nvSpPr>
        <p:spPr>
          <a:xfrm>
            <a:off x="3359150" y="4149724"/>
            <a:ext cx="8353425" cy="2087564"/>
          </a:xfrm>
          <a:prstGeom prst="rect">
            <a:avLst/>
          </a:prstGeom>
        </p:spPr>
        <p:txBody>
          <a:bodyPr lIns="72000" tIns="36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5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3359150" y="1844675"/>
            <a:ext cx="8353425" cy="2089150"/>
          </a:xfrm>
          <a:prstGeom prst="rect">
            <a:avLst/>
          </a:prstGeom>
        </p:spPr>
        <p:txBody>
          <a:bodyPr lIns="72000" tIns="36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8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</p:spTree>
    <p:extLst>
      <p:ext uri="{BB962C8B-B14F-4D97-AF65-F5344CB8AC3E}">
        <p14:creationId xmlns:p14="http://schemas.microsoft.com/office/powerpoint/2010/main" val="39772865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Image over two content p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3"/>
          <p:cNvSpPr>
            <a:spLocks noGrp="1"/>
          </p:cNvSpPr>
          <p:nvPr>
            <p:ph sz="quarter" idx="11" hasCustomPrompt="1"/>
          </p:nvPr>
        </p:nvSpPr>
        <p:spPr>
          <a:xfrm>
            <a:off x="6240463" y="4149724"/>
            <a:ext cx="5472112" cy="2087564"/>
          </a:xfrm>
          <a:prstGeom prst="rect">
            <a:avLst/>
          </a:prstGeom>
        </p:spPr>
        <p:txBody>
          <a:bodyPr lIns="72000" tIns="36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quarter" idx="12" hasCustomPrompt="1"/>
          </p:nvPr>
        </p:nvSpPr>
        <p:spPr>
          <a:xfrm>
            <a:off x="479425" y="4149724"/>
            <a:ext cx="5472113" cy="2087563"/>
          </a:xfrm>
          <a:prstGeom prst="rect">
            <a:avLst/>
          </a:prstGeom>
        </p:spPr>
        <p:txBody>
          <a:bodyPr lIns="72000" tIns="36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5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8353425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</p:spTree>
    <p:extLst>
      <p:ext uri="{BB962C8B-B14F-4D97-AF65-F5344CB8AC3E}">
        <p14:creationId xmlns:p14="http://schemas.microsoft.com/office/powerpoint/2010/main" val="176254620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quarter" idx="12" hasCustomPrompt="1"/>
          </p:nvPr>
        </p:nvSpPr>
        <p:spPr>
          <a:xfrm>
            <a:off x="8184575" y="1844675"/>
            <a:ext cx="3528000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1" hasCustomPrompt="1"/>
          </p:nvPr>
        </p:nvSpPr>
        <p:spPr>
          <a:xfrm>
            <a:off x="4332000" y="1844673"/>
            <a:ext cx="3528000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  <p:sp>
        <p:nvSpPr>
          <p:cNvPr id="9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8353425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8E3794F8-471D-4987-945F-3C29BB03AB4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79425" y="1844674"/>
            <a:ext cx="3528000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457253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 w. Dark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FAD780AD-21B6-4312-96C4-9E36B164887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                                                                         Click icon to add a dark  image</a:t>
            </a:r>
          </a:p>
        </p:txBody>
      </p:sp>
      <p:sp>
        <p:nvSpPr>
          <p:cNvPr id="22531" name="Title_TM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5" y="476250"/>
            <a:ext cx="8353426" cy="2330958"/>
          </a:xfrm>
        </p:spPr>
        <p:txBody>
          <a:bodyPr/>
          <a:lstStyle>
            <a:lvl1pPr>
              <a:lnSpc>
                <a:spcPct val="85000"/>
              </a:lnSpc>
              <a:defRPr sz="6000" b="0" kern="1400" spc="-16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Presentation title,</a:t>
            </a:r>
            <a:br>
              <a:rPr lang="en-US" dirty="0"/>
            </a:br>
            <a:r>
              <a:rPr lang="en-US" dirty="0"/>
              <a:t>Ericsson Hilda Light 60pt,</a:t>
            </a:r>
            <a:br>
              <a:rPr lang="en-US" dirty="0"/>
            </a:br>
            <a:r>
              <a:rPr lang="en-US" dirty="0"/>
              <a:t>Ericsson White,</a:t>
            </a:r>
            <a:br>
              <a:rPr lang="en-US" dirty="0"/>
            </a:br>
            <a:r>
              <a:rPr lang="en-US" dirty="0"/>
              <a:t>max 4-lines</a:t>
            </a:r>
          </a:p>
        </p:txBody>
      </p:sp>
      <p:sp>
        <p:nvSpPr>
          <p:cNvPr id="22530" name="SubTitle_TM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5" y="4149725"/>
            <a:ext cx="5472114" cy="2087563"/>
          </a:xfrm>
          <a:prstGeom prst="rect">
            <a:avLst/>
          </a:prstGeom>
        </p:spPr>
        <p:txBody>
          <a:bodyPr lIns="7200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Presentation description/subtitle</a:t>
            </a:r>
            <a:br>
              <a:rPr lang="en-US" dirty="0"/>
            </a:br>
            <a:r>
              <a:rPr lang="en-US" dirty="0"/>
              <a:t>Ericsson Hilda 20p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6689214" y="6237287"/>
            <a:ext cx="2469030" cy="287336"/>
          </a:xfrm>
          <a:prstGeom prst="rect">
            <a:avLst/>
          </a:prstGeom>
        </p:spPr>
        <p:txBody>
          <a:bodyPr anchor="b"/>
          <a:lstStyle>
            <a:lvl1pPr marL="0" indent="0" algn="r"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Speaker nam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1" hasCustomPrompt="1"/>
          </p:nvPr>
        </p:nvSpPr>
        <p:spPr>
          <a:xfrm>
            <a:off x="9281601" y="6237286"/>
            <a:ext cx="1463040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rIns="0" anchor="b"/>
          <a:lstStyle>
            <a:lvl1pPr marL="0" indent="0" algn="ctr">
              <a:buNone/>
              <a:defRPr lang="en-US" sz="1200" dirty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Organization</a:t>
            </a:r>
          </a:p>
        </p:txBody>
      </p:sp>
      <p:sp>
        <p:nvSpPr>
          <p:cNvPr id="15" name="Content Placeholder 11"/>
          <p:cNvSpPr>
            <a:spLocks noGrp="1"/>
          </p:cNvSpPr>
          <p:nvPr>
            <p:ph sz="quarter" idx="12" hasCustomPrompt="1"/>
          </p:nvPr>
        </p:nvSpPr>
        <p:spPr>
          <a:xfrm>
            <a:off x="10811951" y="6237287"/>
            <a:ext cx="897503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tIns="0" rIns="0" anchor="b"/>
          <a:lstStyle>
            <a:lvl1pPr marL="0" indent="0" algn="ctr">
              <a:buNone/>
              <a:defRPr lang="en-US" sz="120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YYYY-MM-DD</a:t>
            </a:r>
          </a:p>
        </p:txBody>
      </p:sp>
      <p:pic>
        <p:nvPicPr>
          <p:cNvPr id="9" name="Picture 11">
            <a:extLst>
              <a:ext uri="{FF2B5EF4-FFF2-40B4-BE49-F238E27FC236}">
                <a16:creationId xmlns:a16="http://schemas.microsoft.com/office/drawing/2014/main" id="{AE0ABF59-D34C-44E2-8569-812DEC85F2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19270" y="481203"/>
            <a:ext cx="190184" cy="256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87326472"/>
      </p:ext>
    </p:extLst>
  </p:cSld>
  <p:clrMapOvr>
    <a:masterClrMapping/>
  </p:clrMapOvr>
  <p:hf sldNum="0" hdr="0" ftr="0"/>
  <p:extLst mod="1"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3 narrow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quarter" idx="12" hasCustomPrompt="1"/>
          </p:nvPr>
        </p:nvSpPr>
        <p:spPr>
          <a:xfrm>
            <a:off x="9121776" y="1844674"/>
            <a:ext cx="2590799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1" hasCustomPrompt="1"/>
          </p:nvPr>
        </p:nvSpPr>
        <p:spPr>
          <a:xfrm>
            <a:off x="6240464" y="1844674"/>
            <a:ext cx="2592386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  <p:sp>
        <p:nvSpPr>
          <p:cNvPr id="4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3359149" y="1844674"/>
            <a:ext cx="2592389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  <p:sp>
        <p:nvSpPr>
          <p:cNvPr id="9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8353425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</p:spTree>
    <p:extLst>
      <p:ext uri="{BB962C8B-B14F-4D97-AF65-F5344CB8AC3E}">
        <p14:creationId xmlns:p14="http://schemas.microsoft.com/office/powerpoint/2010/main" val="189606870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quarter" idx="12" hasCustomPrompt="1"/>
          </p:nvPr>
        </p:nvSpPr>
        <p:spPr>
          <a:xfrm>
            <a:off x="6240463" y="1844674"/>
            <a:ext cx="2592388" cy="4392614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1" hasCustomPrompt="1"/>
          </p:nvPr>
        </p:nvSpPr>
        <p:spPr>
          <a:xfrm>
            <a:off x="3359149" y="1844674"/>
            <a:ext cx="2592389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  <p:sp>
        <p:nvSpPr>
          <p:cNvPr id="4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479425" y="1844674"/>
            <a:ext cx="2592388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9120188" y="1844674"/>
            <a:ext cx="2592387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  <p:sp>
        <p:nvSpPr>
          <p:cNvPr id="10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</p:spTree>
    <p:extLst>
      <p:ext uri="{BB962C8B-B14F-4D97-AF65-F5344CB8AC3E}">
        <p14:creationId xmlns:p14="http://schemas.microsoft.com/office/powerpoint/2010/main" val="227589923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Preambl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quarter" idx="12" hasCustomPrompt="1"/>
          </p:nvPr>
        </p:nvSpPr>
        <p:spPr>
          <a:xfrm>
            <a:off x="6240463" y="4149724"/>
            <a:ext cx="2592388" cy="2087563"/>
          </a:xfrm>
          <a:prstGeom prst="rect">
            <a:avLst/>
          </a:prstGeom>
        </p:spPr>
        <p:txBody>
          <a:bodyPr tIns="3600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For heading, use Ericsson Hilda in bold. For copy and bullets, use E. Hilda.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1" hasCustomPrompt="1"/>
          </p:nvPr>
        </p:nvSpPr>
        <p:spPr>
          <a:xfrm>
            <a:off x="3359150" y="4149725"/>
            <a:ext cx="2592388" cy="2087562"/>
          </a:xfrm>
          <a:prstGeom prst="rect">
            <a:avLst/>
          </a:prstGeom>
        </p:spPr>
        <p:txBody>
          <a:bodyPr tIns="3600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For heading, use Ericsson Hilda in bold. For copy and bullets, use E. Hilda.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</p:txBody>
      </p:sp>
      <p:sp>
        <p:nvSpPr>
          <p:cNvPr id="4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479425" y="1844675"/>
            <a:ext cx="2592388" cy="4392612"/>
          </a:xfrm>
          <a:prstGeom prst="rect">
            <a:avLst/>
          </a:prstGeom>
        </p:spPr>
        <p:txBody>
          <a:bodyPr/>
          <a:lstStyle>
            <a:lvl1pPr marL="0" indent="0">
              <a:buFont typeface="Ericsson Hilda Light" panose="020B0604020202020204" pitchFamily="34" charset="0"/>
              <a:buNone/>
              <a:defRPr sz="2500">
                <a:latin typeface="+mn-lt"/>
              </a:defRPr>
            </a:lvl1pPr>
            <a:lvl2pPr marL="0" indent="0">
              <a:buFont typeface="Ericsson Hilda Light" panose="020B0604020202020204" pitchFamily="34" charset="0"/>
              <a:buNone/>
              <a:defRPr sz="2500">
                <a:latin typeface="+mj-lt"/>
              </a:defRPr>
            </a:lvl2pPr>
            <a:lvl3pPr marL="342900" indent="0">
              <a:buFont typeface="Ericsson Hilda Light" panose="020B0604020202020204" pitchFamily="34" charset="0"/>
              <a:buNone/>
              <a:defRPr sz="2500">
                <a:latin typeface="+mj-lt"/>
              </a:defRPr>
            </a:lvl3pPr>
            <a:lvl4pPr marL="685800" indent="0">
              <a:buFont typeface="Ericsson Hilda Light" panose="020B0604020202020204" pitchFamily="34" charset="0"/>
              <a:buNone/>
              <a:defRPr sz="2500">
                <a:latin typeface="+mj-lt"/>
              </a:defRPr>
            </a:lvl4pPr>
            <a:lvl5pPr marL="1028700" indent="0">
              <a:buFont typeface="Ericsson Hilda Light" panose="020B0604020202020204" pitchFamily="34" charset="0"/>
              <a:buNone/>
              <a:defRPr sz="2500">
                <a:latin typeface="+mj-lt"/>
              </a:defRPr>
            </a:lvl5pPr>
          </a:lstStyle>
          <a:p>
            <a:pPr lvl="0"/>
            <a:r>
              <a:rPr kumimoji="0" lang="en-US" sz="2500" b="0" i="0" u="none" strike="noStrike" kern="1200" cap="none" spc="0" normalizeH="0" baseline="0" noProof="0" dirty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ea typeface="+mn-ea"/>
                <a:cs typeface="Ericsson Hilda Light" panose="020B0604020202020204" pitchFamily="34" charset="0"/>
              </a:rPr>
              <a:t>Preamble text, </a:t>
            </a:r>
            <a:r>
              <a:rPr lang="en-US" dirty="0"/>
              <a:t>Ericsson </a:t>
            </a:r>
            <a:r>
              <a:rPr kumimoji="0" lang="en-US" sz="2500" b="0" i="0" u="none" strike="noStrike" kern="1200" cap="none" spc="0" normalizeH="0" baseline="0" noProof="0" dirty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ea typeface="+mn-ea"/>
                <a:cs typeface="Ericsson Hilda Light" panose="020B0604020202020204" pitchFamily="34" charset="0"/>
              </a:rPr>
              <a:t>Hilda 25pt, Ericsson Black</a:t>
            </a:r>
            <a:endParaRPr lang="en-US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9120188" y="4149724"/>
            <a:ext cx="2592387" cy="2087563"/>
          </a:xfrm>
          <a:prstGeom prst="rect">
            <a:avLst/>
          </a:prstGeom>
        </p:spPr>
        <p:txBody>
          <a:bodyPr tIns="3600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For heading, use Ericsson Hilda in bold. For copy and bullets, use E. Hilda.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</p:txBody>
      </p:sp>
      <p:sp>
        <p:nvSpPr>
          <p:cNvPr id="10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</p:spTree>
    <p:extLst>
      <p:ext uri="{BB962C8B-B14F-4D97-AF65-F5344CB8AC3E}">
        <p14:creationId xmlns:p14="http://schemas.microsoft.com/office/powerpoint/2010/main" val="150909029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lumns with visu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quarter" idx="12" hasCustomPrompt="1"/>
          </p:nvPr>
        </p:nvSpPr>
        <p:spPr>
          <a:xfrm>
            <a:off x="6240463" y="4149724"/>
            <a:ext cx="2592388" cy="2087563"/>
          </a:xfrm>
          <a:prstGeom prst="rect">
            <a:avLst/>
          </a:prstGeom>
        </p:spPr>
        <p:txBody>
          <a:bodyPr lIns="72000" tIns="3600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For heading, use Ericsson Hilda in bold. For copy and bullets, use E. Hilda.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1" hasCustomPrompt="1"/>
          </p:nvPr>
        </p:nvSpPr>
        <p:spPr>
          <a:xfrm>
            <a:off x="3359149" y="4149724"/>
            <a:ext cx="2592389" cy="2087563"/>
          </a:xfrm>
          <a:prstGeom prst="rect">
            <a:avLst/>
          </a:prstGeom>
        </p:spPr>
        <p:txBody>
          <a:bodyPr lIns="72000" tIns="3600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For heading, use Ericsson Hilda in bold. For copy and bullets, use E. Hilda.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</p:txBody>
      </p:sp>
      <p:sp>
        <p:nvSpPr>
          <p:cNvPr id="4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479425" y="4149724"/>
            <a:ext cx="2592388" cy="2087563"/>
          </a:xfrm>
          <a:prstGeom prst="rect">
            <a:avLst/>
          </a:prstGeom>
        </p:spPr>
        <p:txBody>
          <a:bodyPr lIns="72000" tIns="3600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For heading, use Ericsson Hilda in bold. For copy and bullets, use E. Hilda.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9121776" y="4149724"/>
            <a:ext cx="2590799" cy="2087563"/>
          </a:xfrm>
          <a:prstGeom prst="rect">
            <a:avLst/>
          </a:prstGeom>
        </p:spPr>
        <p:txBody>
          <a:bodyPr lIns="72000" tIns="3600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For heading, use Ericsson Hilda in bold. For copy and bullets, use E. Hilda.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</p:txBody>
      </p:sp>
      <p:sp>
        <p:nvSpPr>
          <p:cNvPr id="10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5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</p:spTree>
    <p:extLst>
      <p:ext uri="{BB962C8B-B14F-4D97-AF65-F5344CB8AC3E}">
        <p14:creationId xmlns:p14="http://schemas.microsoft.com/office/powerpoint/2010/main" val="310069583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4"/>
          <p:cNvSpPr>
            <a:spLocks noGrp="1"/>
          </p:cNvSpPr>
          <p:nvPr>
            <p:ph sz="quarter" idx="4" hasCustomPrompt="1"/>
          </p:nvPr>
        </p:nvSpPr>
        <p:spPr>
          <a:xfrm>
            <a:off x="6240462" y="4149724"/>
            <a:ext cx="5472113" cy="2087564"/>
          </a:xfrm>
          <a:prstGeom prst="rect">
            <a:avLst/>
          </a:prstGeom>
        </p:spPr>
        <p:txBody>
          <a:bodyPr lIns="72000" tIns="36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2" hasCustomPrompt="1"/>
          </p:nvPr>
        </p:nvSpPr>
        <p:spPr>
          <a:xfrm>
            <a:off x="6240462" y="1844674"/>
            <a:ext cx="5472113" cy="2089151"/>
          </a:xfrm>
          <a:prstGeom prst="rect">
            <a:avLst/>
          </a:prstGeom>
        </p:spPr>
        <p:txBody>
          <a:bodyPr lIns="72000" tIns="36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quarter" idx="1" hasCustomPrompt="1"/>
          </p:nvPr>
        </p:nvSpPr>
        <p:spPr>
          <a:xfrm>
            <a:off x="479425" y="1844674"/>
            <a:ext cx="5472113" cy="2089151"/>
          </a:xfrm>
          <a:prstGeom prst="rect">
            <a:avLst/>
          </a:prstGeom>
        </p:spPr>
        <p:txBody>
          <a:bodyPr lIns="72000" tIns="36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8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5BD2C41D-0700-4885-AB77-25AFFE4E1FDA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9425" y="4149725"/>
            <a:ext cx="5472113" cy="2089151"/>
          </a:xfrm>
          <a:prstGeom prst="rect">
            <a:avLst/>
          </a:prstGeom>
        </p:spPr>
        <p:txBody>
          <a:bodyPr lIns="72000" tIns="36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54861200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8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4"/>
          <p:cNvSpPr>
            <a:spLocks noGrp="1"/>
          </p:cNvSpPr>
          <p:nvPr>
            <p:ph sz="quarter" idx="4" hasCustomPrompt="1"/>
          </p:nvPr>
        </p:nvSpPr>
        <p:spPr>
          <a:xfrm>
            <a:off x="6240463" y="4150995"/>
            <a:ext cx="2592387" cy="2086292"/>
          </a:xfrm>
          <a:prstGeom prst="rect">
            <a:avLst/>
          </a:prstGeom>
        </p:spPr>
        <p:txBody>
          <a:bodyPr lIns="72000" tIns="3600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/>
              <a:t>For heading, use Ericsson Hilda in bold. For copy and bullets, use E. Hilda.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quarter" idx="3" hasCustomPrompt="1"/>
          </p:nvPr>
        </p:nvSpPr>
        <p:spPr>
          <a:xfrm>
            <a:off x="479424" y="4149724"/>
            <a:ext cx="2592389" cy="2087563"/>
          </a:xfrm>
          <a:prstGeom prst="rect">
            <a:avLst/>
          </a:prstGeom>
        </p:spPr>
        <p:txBody>
          <a:bodyPr lIns="72000" tIns="3600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For heading, use Ericsson Hilda in bold. For copy and bullets, use E. Hilda.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2" hasCustomPrompt="1"/>
          </p:nvPr>
        </p:nvSpPr>
        <p:spPr>
          <a:xfrm>
            <a:off x="6240463" y="1844675"/>
            <a:ext cx="2592387" cy="2089150"/>
          </a:xfrm>
          <a:prstGeom prst="rect">
            <a:avLst/>
          </a:prstGeom>
        </p:spPr>
        <p:txBody>
          <a:bodyPr lIns="72000" tIns="3600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For heading, use Ericsson Hilda in bold. For copy and bullets, use E. Hilda.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4"/>
            <a:endParaRPr lang="en-US" dirty="0"/>
          </a:p>
        </p:txBody>
      </p:sp>
      <p:sp>
        <p:nvSpPr>
          <p:cNvPr id="3" name="Content Placeholder 1"/>
          <p:cNvSpPr>
            <a:spLocks noGrp="1"/>
          </p:cNvSpPr>
          <p:nvPr>
            <p:ph sz="quarter" idx="1" hasCustomPrompt="1"/>
          </p:nvPr>
        </p:nvSpPr>
        <p:spPr>
          <a:xfrm>
            <a:off x="479424" y="1844675"/>
            <a:ext cx="2592389" cy="2089150"/>
          </a:xfrm>
          <a:prstGeom prst="rect">
            <a:avLst/>
          </a:prstGeom>
        </p:spPr>
        <p:txBody>
          <a:bodyPr lIns="72000" tIns="3600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For heading, use Ericsson Hilda in bold. For copy and bullets, use E. Hilda.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3359151" y="4149724"/>
            <a:ext cx="2592387" cy="2087563"/>
          </a:xfrm>
          <a:prstGeom prst="rect">
            <a:avLst/>
          </a:prstGeom>
        </p:spPr>
        <p:txBody>
          <a:bodyPr lIns="72000" tIns="3600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For heading, use Ericsson Hilda in bold. For copy and bullets, use E. Hilda.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11" hasCustomPrompt="1"/>
          </p:nvPr>
        </p:nvSpPr>
        <p:spPr>
          <a:xfrm>
            <a:off x="3359151" y="1844675"/>
            <a:ext cx="2592388" cy="2089150"/>
          </a:xfrm>
          <a:prstGeom prst="rect">
            <a:avLst/>
          </a:prstGeom>
        </p:spPr>
        <p:txBody>
          <a:bodyPr lIns="72000" tIns="3600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For heading, use Ericsson Hilda in bold. For copy and bullets, use E. Hilda.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9120188" y="4149725"/>
            <a:ext cx="2592387" cy="2087562"/>
          </a:xfrm>
          <a:prstGeom prst="rect">
            <a:avLst/>
          </a:prstGeom>
        </p:spPr>
        <p:txBody>
          <a:bodyPr lIns="72000" tIns="3600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For heading, use Ericsson Hilda in bold. For copy and bullets, use E. Hilda.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9120188" y="1844674"/>
            <a:ext cx="2592387" cy="2089151"/>
          </a:xfrm>
          <a:prstGeom prst="rect">
            <a:avLst/>
          </a:prstGeom>
        </p:spPr>
        <p:txBody>
          <a:bodyPr lIns="72000" tIns="3600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For heading, use Ericsson Hilda in bold. For copy and bullets, use E. Hilda.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4"/>
            <a:endParaRPr lang="en-US" dirty="0"/>
          </a:p>
        </p:txBody>
      </p:sp>
      <p:sp>
        <p:nvSpPr>
          <p:cNvPr id="12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</p:spTree>
    <p:extLst>
      <p:ext uri="{BB962C8B-B14F-4D97-AF65-F5344CB8AC3E}">
        <p14:creationId xmlns:p14="http://schemas.microsoft.com/office/powerpoint/2010/main" val="143698819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99AF35DD-3E5E-42CB-AFA5-5E09E14F72A4}"/>
              </a:ext>
            </a:extLst>
          </p:cNvPr>
          <p:cNvSpPr txBox="1"/>
          <p:nvPr userDrawn="1"/>
        </p:nvSpPr>
        <p:spPr bwMode="auto">
          <a:xfrm>
            <a:off x="479425" y="473190"/>
            <a:ext cx="11233149" cy="6068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Clr>
                <a:schemeClr val="tx1"/>
              </a:buClr>
              <a:buFont typeface="Ericsson Hilda Light" panose="00000400000000000000" pitchFamily="2" charset="0"/>
              <a:buNone/>
            </a:pPr>
            <a:r>
              <a:rPr lang="en-US" sz="1400" dirty="0">
                <a:solidFill>
                  <a:schemeClr val="bg1"/>
                </a:solidFill>
              </a:rPr>
              <a:t>Characters for Embedded characters:</a:t>
            </a:r>
          </a:p>
          <a:p>
            <a:pPr marL="0" indent="0">
              <a:buClr>
                <a:schemeClr val="tx1"/>
              </a:buClr>
              <a:buFont typeface="Ericsson Hilda Light" panose="00000400000000000000" pitchFamily="2" charset="0"/>
              <a:buNone/>
            </a:pPr>
            <a:r>
              <a:rPr lang="en-US" sz="1400" dirty="0">
                <a:solidFill>
                  <a:schemeClr val="bg1"/>
                </a:solidFill>
              </a:rPr>
              <a:t>!"#$%&amp;'()*+,./0123456789:;&lt;=&gt;?@ABCDEFGHIJKLMNOPQRSTUVWXYZ[\]^_`</a:t>
            </a:r>
            <a:r>
              <a:rPr lang="en-US" sz="1400" dirty="0" err="1">
                <a:solidFill>
                  <a:schemeClr val="bg1"/>
                </a:solidFill>
              </a:rPr>
              <a:t>abcdefghijklmnopqrstuvwxyz</a:t>
            </a:r>
            <a:r>
              <a:rPr lang="en-US" sz="1400" dirty="0">
                <a:solidFill>
                  <a:schemeClr val="bg1"/>
                </a:solidFill>
              </a:rPr>
              <a:t>{|}~¡¢£¤¥¦§¨©ª«¬®¯°±²³´¶·¸¹º»¼½ÀÁÂÃÄÅÆÇÈËÌÍÎÏÐÑÒÓÔÕÖ×ØÙÚÛÜÝÞßàáâãäåæçèéêëìíîïðñòóôõö÷øùúûüýþÿĀāĂăąĆćĊċČĎďĐđĒĖėĘęĚěĞğĠġĢģĪīĮįİıĶķĹĺĻļĽľŁłŃńŅņŇňŌŐőŒœŔŕŖŗŘřŚśŞşŠšŢţŤťŪūŮůŰűŲųŴŵŶŷŸŹźŻżŽžƒȘșˆˇ˘˙˚˛˜˝</a:t>
            </a:r>
            <a:r>
              <a:rPr lang="en-US" sz="1400" dirty="0" err="1">
                <a:solidFill>
                  <a:schemeClr val="bg1"/>
                </a:solidFill>
              </a:rPr>
              <a:t>ẀẁẃẄẅỲỳ</a:t>
            </a:r>
            <a:r>
              <a:rPr lang="en-US" sz="1400" dirty="0">
                <a:solidFill>
                  <a:schemeClr val="bg1"/>
                </a:solidFill>
              </a:rPr>
              <a:t>‘’‚“”„†‡•…‰‹›⁄€™ĀĀĂĂĄĄĆĆĊĊČČĎĎĐĐĒĒĖĖĘĘĚĚĞĞĠĠĢĢĪĪĮĮİĶĶĹĹĻĻĽĽŃŃŅŅŇŇŌŌŐŐŔŔŖŖŘŘŚŚŞŞŢŢŤŤŪŪŮŮŰŰŲŲŴŴŶŶŹŹŻŻȘș−≤≥</a:t>
            </a:r>
            <a:r>
              <a:rPr lang="en-US" sz="1400" dirty="0" err="1">
                <a:solidFill>
                  <a:schemeClr val="bg1"/>
                </a:solidFill>
              </a:rPr>
              <a:t>ﬁﬂΆΈΉΊΌΎΏΐΑΒΓΕΖΗΘΙΚΛΜΝΞΟΠΡΣΤΥΦΧΨΪΫΆΈΉΊΰ</a:t>
            </a:r>
            <a:r>
              <a:rPr lang="en-US" sz="1400" dirty="0">
                <a:solidFill>
                  <a:schemeClr val="bg1"/>
                </a:solidFill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endParaRPr lang="en-US" sz="140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en-US" sz="1400" b="1" dirty="0">
                <a:solidFill>
                  <a:schemeClr val="bg1"/>
                </a:solidFill>
              </a:rPr>
              <a:t>!"#$%&amp;'()*+,./0123456789:;&lt;=&gt;?@ABCDEFGHIJKLMNOPQRSTUVWXYZ[\]^_`</a:t>
            </a:r>
            <a:r>
              <a:rPr lang="en-US" sz="1400" b="1" dirty="0" err="1">
                <a:solidFill>
                  <a:schemeClr val="bg1"/>
                </a:solidFill>
              </a:rPr>
              <a:t>abcdefghijklmnopqrstuvwxyz</a:t>
            </a:r>
            <a:r>
              <a:rPr lang="en-US" sz="1400" b="1" dirty="0">
                <a:solidFill>
                  <a:schemeClr val="bg1"/>
                </a:solidFill>
              </a:rPr>
              <a:t>{|}~¡¢£¤¥¦§¨©ª«¬®¯°±²³´¶·¸¹º»¼½ÀÁÂÃÄÅÆÇÈËÌÍÎÏÐÑÒÓÔÕÖ×ØÙÚÛÜÝÞßàáâãäåæçèéêëìíîïðñòóôõö÷øùúûüýþÿĀāĂăąĆćĊċČĎďĐđĒĖėĘęĚěĞğĠġĢģĪīĮįİıĶķĹĺĻļĽľŁłŃńŅņŇňŌŐőŒœŔŕŖŗŘřŚśŞşŠšŢţŤťŪūŮůŰűŲųŴŵŶŷŸŹźŻżŽžƒȘșˆˇ˘˙˚˛˜˝</a:t>
            </a:r>
            <a:r>
              <a:rPr lang="en-US" sz="1400" b="1" dirty="0" err="1">
                <a:solidFill>
                  <a:schemeClr val="bg1"/>
                </a:solidFill>
              </a:rPr>
              <a:t>ẀẁẃẄẅỲỳ</a:t>
            </a:r>
            <a:r>
              <a:rPr lang="en-US" sz="1400" b="1" dirty="0">
                <a:solidFill>
                  <a:schemeClr val="bg1"/>
                </a:solidFill>
              </a:rPr>
              <a:t>‘’‚“”„†‡•…‰‹›⁄€™ĀĀĂĂĄĄĆĆĊĊČČĎĎĐĐĒĒĖĖĘĘĚĚĞĞĠĠĢĢĪĪĮĮİĶĶĹĹĻĻĽĽŃŃŅŅŇŇŌŌŐŐŔŔŖŖŘŘŚŚŞŞŢŢŤŤŪŪŮŮŰŰŲŲŴŴŶŶŹŹŻŻȘș−≤≥</a:t>
            </a:r>
            <a:r>
              <a:rPr lang="en-US" sz="1400" b="1" dirty="0" err="1">
                <a:solidFill>
                  <a:schemeClr val="bg1"/>
                </a:solidFill>
              </a:rPr>
              <a:t>ﬁﬂΆΈΉΊΌΎΏΐΑΒΓΕΖΗΘΙΚΛΜΝΞΟΠΡΣΤΥΦΧΨΪΫΆΈΉΊΰ</a:t>
            </a:r>
            <a:r>
              <a:rPr lang="en-US" sz="1400" b="1" dirty="0">
                <a:solidFill>
                  <a:schemeClr val="bg1"/>
                </a:solidFill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endParaRPr lang="en-US" sz="140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en-US" sz="1400" dirty="0">
                <a:solidFill>
                  <a:schemeClr val="bg1"/>
                </a:solidFill>
                <a:latin typeface="+mj-lt"/>
              </a:rPr>
              <a:t>!"#$%&amp;'()*+,./0123456789:;&lt;=&gt;?@ABCDEFGHIJKLMNOPQRSTUVWXYZ[\]^_`</a:t>
            </a:r>
            <a:r>
              <a:rPr lang="en-US" sz="1400" dirty="0" err="1">
                <a:solidFill>
                  <a:schemeClr val="bg1"/>
                </a:solidFill>
                <a:latin typeface="+mj-lt"/>
              </a:rPr>
              <a:t>abcdefghijklmnopqrstuvwxyz</a:t>
            </a:r>
            <a:r>
              <a:rPr lang="en-US" sz="1400" dirty="0">
                <a:solidFill>
                  <a:schemeClr val="bg1"/>
                </a:solidFill>
                <a:latin typeface="+mj-lt"/>
              </a:rPr>
              <a:t>{|}~¡¢£¤¥¦§¨©ª«¬®¯°±²³´¶·¸¹º»¼½ÀÁÂÃÄÅÆÇÈËÌÍÎÏÐÑÒÓÔÕÖ×ØÙÚÛÜÝÞßàáâãäåæçèéêëìíîïðñòóôõö÷øùúûüýþÿĀāĂăąĆćĊċČĎďĐđĒĖėĘęĚěĞğĠġĢģĪīĮįİıĶķĹĺĻļĽľŁłŃńŅņŇňŌŐőŒœŔŕŖŗŘřŚśŞşŠšŢţŤťŪūŮůŰűŲųŴŵŶŷŸŹźŻżŽžƒȘșˆˇ˘˙˚˛˜˝</a:t>
            </a:r>
            <a:r>
              <a:rPr lang="en-US" sz="1400" dirty="0" err="1">
                <a:solidFill>
                  <a:schemeClr val="bg1"/>
                </a:solidFill>
                <a:latin typeface="+mj-lt"/>
              </a:rPr>
              <a:t>ẀẁẃẄẅỲỳ</a:t>
            </a:r>
            <a:r>
              <a:rPr lang="en-US" sz="1400" dirty="0">
                <a:solidFill>
                  <a:schemeClr val="bg1"/>
                </a:solidFill>
                <a:latin typeface="+mj-lt"/>
              </a:rPr>
              <a:t>‘’‚“”„†‡•…‰‹›⁄€™ĀĀĂĂĄĄĆĆĊĊČČĎĎĐĐĒĒĖĖĘĘĚĚĞĞĠĠĢĢĪĪĮĮİĶĶĹĹĻĻĽĽŃŃŅŅŇŇŌŌŐŐŔŔŖŖŘŘŚŚŞŞŢŢŤŤŪŪŮŮŰŰŲŲŴŴŶŶŹŹŻŻȘș−≤≥</a:t>
            </a:r>
            <a:r>
              <a:rPr lang="en-US" sz="1400" dirty="0" err="1">
                <a:solidFill>
                  <a:schemeClr val="bg1"/>
                </a:solidFill>
                <a:latin typeface="+mj-lt"/>
              </a:rPr>
              <a:t>ﬁﬂΆΈΉΊΌΎΏΐΑΒΓΕΖΗΘΙΚΛΜΝΞΟΠΡΣΤΥΦΧΨΪΫΆΈΉΊΰ</a:t>
            </a:r>
            <a:r>
              <a:rPr lang="en-US" sz="1400" dirty="0">
                <a:solidFill>
                  <a:schemeClr val="bg1"/>
                </a:solidFill>
                <a:latin typeface="+mj-lt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endParaRPr lang="en-US" sz="140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en-US" sz="1400" b="1" dirty="0">
                <a:solidFill>
                  <a:schemeClr val="bg1"/>
                </a:solidFill>
                <a:latin typeface="+mj-lt"/>
              </a:rPr>
              <a:t>!"#$%&amp;'()*+,./0123456789:;&lt;=&gt;?@ABCDEFGHIJKLMNOPQRSTUVWXYZ[\]^_`</a:t>
            </a:r>
            <a:r>
              <a:rPr lang="en-US" sz="1400" b="1" dirty="0" err="1">
                <a:solidFill>
                  <a:schemeClr val="bg1"/>
                </a:solidFill>
                <a:latin typeface="+mj-lt"/>
              </a:rPr>
              <a:t>abcdefghijklmnopqrstuvwxyz</a:t>
            </a:r>
            <a:r>
              <a:rPr lang="en-US" sz="1400" b="1" dirty="0">
                <a:solidFill>
                  <a:schemeClr val="bg1"/>
                </a:solidFill>
                <a:latin typeface="+mj-lt"/>
              </a:rPr>
              <a:t>{|}~¡¢£¤¥¦§¨©ª«¬®¯°±²³´¶·¸¹º»¼½ÀÁÂÃÄÅÆÇÈËÌÍÎÏÐÑÒÓÔÕÖ×ØÙÚÛÜÝÞßàáâãäåæçèéêëìíîïðñòóôõö÷øùúûüýþÿĀāĂăąĆćĊċČĎďĐđĒĖėĘęĚěĞğĠġĢģĪīĮįİıĶķĹĺĻļĽľŁłŃńŅņŇňŌŐőŒœŔŕŖŗŘřŚśŞşŠšŢţŤťŪūŮůŰűŲųŴŵŶŷŸŹźŻżŽžƒȘșˆˇ˘˙˚˛˜˝</a:t>
            </a:r>
            <a:r>
              <a:rPr lang="en-US" sz="1400" b="1" dirty="0" err="1">
                <a:solidFill>
                  <a:schemeClr val="bg1"/>
                </a:solidFill>
                <a:latin typeface="+mj-lt"/>
              </a:rPr>
              <a:t>ẀẁẃẄẅỲỳ</a:t>
            </a:r>
            <a:r>
              <a:rPr lang="en-US" sz="1400" b="1" dirty="0">
                <a:solidFill>
                  <a:schemeClr val="bg1"/>
                </a:solidFill>
                <a:latin typeface="+mj-lt"/>
              </a:rPr>
              <a:t>‘’‚“”„†‡•…‰‹›⁄€™ĀĀĂĂĄĄĆĆĊĊČČĎĎĐĐĒĒĖĖĘĘĚĚĞĞĠĠĢĢĪĪĮĮİĶĶĹĹĻĻĽĽŃŃŅŅŇŇŌŌŐŐŔŔŖŖŘŘŚŚŞŞŢŢŤŤŪŪŮŮŰŰŲŲŴŴŶŶŹŹŻŻȘș−≤≥</a:t>
            </a:r>
            <a:r>
              <a:rPr lang="en-US" sz="1400" b="1" dirty="0" err="1">
                <a:solidFill>
                  <a:schemeClr val="bg1"/>
                </a:solidFill>
                <a:latin typeface="+mj-lt"/>
              </a:rPr>
              <a:t>ﬁﬂΆΈΉΊΌΎΏΐΑΒΓΕΖΗΘΙΚΛΜΝΞΟΠΡΣΤΥΦΧΨΪΫΆΈΉΊΰ</a:t>
            </a:r>
            <a:r>
              <a:rPr lang="en-US" sz="1400" b="1" dirty="0">
                <a:solidFill>
                  <a:schemeClr val="bg1"/>
                </a:solidFill>
                <a:latin typeface="+mj-lt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AEBC62E-40C0-43CF-98DC-55F7A1D1FD31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99071CE-F2DE-431D-A304-302D376E094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63309" y="2866608"/>
            <a:ext cx="865383" cy="1145569"/>
          </a:xfrm>
          <a:prstGeom prst="rect">
            <a:avLst/>
          </a:prstGeom>
          <a:ln>
            <a:noFill/>
          </a:ln>
        </p:spPr>
      </p:pic>
      <p:sp>
        <p:nvSpPr>
          <p:cNvPr id="9" name="SubTitle_TM">
            <a:extLst>
              <a:ext uri="{FF2B5EF4-FFF2-40B4-BE49-F238E27FC236}">
                <a16:creationId xmlns:a16="http://schemas.microsoft.com/office/drawing/2014/main" id="{B200748E-0B61-48E1-8B47-504C30250995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071813" y="4153259"/>
            <a:ext cx="6048375" cy="347472"/>
          </a:xfrm>
          <a:prstGeom prst="rect">
            <a:avLst/>
          </a:prstGeom>
        </p:spPr>
        <p:txBody>
          <a:bodyPr rIns="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Ericsson.com/related-</a:t>
            </a:r>
            <a:r>
              <a:rPr lang="en-US" dirty="0" err="1"/>
              <a:t>ur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616851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4933" y="239713"/>
            <a:ext cx="9992784" cy="10858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9167" y="1800228"/>
            <a:ext cx="11135784" cy="3851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9674658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Title_TM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5" y="476250"/>
            <a:ext cx="8353426" cy="3457576"/>
          </a:xfrm>
        </p:spPr>
        <p:txBody>
          <a:bodyPr/>
          <a:lstStyle>
            <a:lvl1pPr>
              <a:lnSpc>
                <a:spcPct val="85000"/>
              </a:lnSpc>
              <a:defRPr sz="6000" b="0" kern="1400" spc="-160" baseline="0">
                <a:latin typeface="+mj-lt"/>
              </a:defRPr>
            </a:lvl1pPr>
          </a:lstStyle>
          <a:p>
            <a:r>
              <a:rPr lang="en-US" dirty="0"/>
              <a:t>Presentation title,</a:t>
            </a:r>
            <a:br>
              <a:rPr lang="en-US" dirty="0"/>
            </a:br>
            <a:r>
              <a:rPr lang="en-US" dirty="0"/>
              <a:t>Ericsson Hilda Light 60pt,</a:t>
            </a:r>
            <a:br>
              <a:rPr lang="en-US" dirty="0"/>
            </a:br>
            <a:r>
              <a:rPr lang="en-US" dirty="0"/>
              <a:t>Ericsson Black,</a:t>
            </a:r>
            <a:br>
              <a:rPr lang="en-US" dirty="0"/>
            </a:br>
            <a:r>
              <a:rPr lang="en-US" dirty="0"/>
              <a:t>max 4-lines</a:t>
            </a:r>
          </a:p>
        </p:txBody>
      </p:sp>
      <p:sp>
        <p:nvSpPr>
          <p:cNvPr id="22530" name="SubTitle_TM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5" y="4149725"/>
            <a:ext cx="5472114" cy="2087563"/>
          </a:xfrm>
          <a:prstGeom prst="rect">
            <a:avLst/>
          </a:prstGeom>
        </p:spPr>
        <p:txBody>
          <a:bodyPr lIns="7200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Presentation description/subtitle</a:t>
            </a:r>
            <a:br>
              <a:rPr lang="en-US" dirty="0"/>
            </a:br>
            <a:r>
              <a:rPr lang="en-US" dirty="0"/>
              <a:t>Ericsson Hilda 20p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6240463" y="6237288"/>
            <a:ext cx="1910479" cy="287336"/>
          </a:xfrm>
          <a:prstGeom prst="rect">
            <a:avLst/>
          </a:prstGeom>
        </p:spPr>
        <p:txBody>
          <a:bodyPr wrap="none" anchor="b"/>
          <a:lstStyle>
            <a:lvl1pPr marL="0" indent="0" algn="r">
              <a:buNone/>
              <a:defRPr sz="1200">
                <a:latin typeface="+mn-lt"/>
              </a:defRPr>
            </a:lvl1pPr>
          </a:lstStyle>
          <a:p>
            <a:r>
              <a:rPr lang="en-US" dirty="0"/>
              <a:t>Speaker nam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1" hasCustomPrompt="1"/>
          </p:nvPr>
        </p:nvSpPr>
        <p:spPr>
          <a:xfrm>
            <a:off x="8229600" y="6237287"/>
            <a:ext cx="2515041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rIns="0" anchor="b"/>
          <a:lstStyle>
            <a:lvl1pPr marL="0" indent="0" algn="ctr">
              <a:buNone/>
              <a:defRPr lang="en-US" sz="1200" dirty="0">
                <a:latin typeface="+mn-lt"/>
              </a:defRPr>
            </a:lvl1pPr>
          </a:lstStyle>
          <a:p>
            <a:r>
              <a:rPr lang="en-US" dirty="0"/>
              <a:t>Organization</a:t>
            </a:r>
          </a:p>
        </p:txBody>
      </p:sp>
      <p:sp>
        <p:nvSpPr>
          <p:cNvPr id="15" name="Content Placeholder 11"/>
          <p:cNvSpPr>
            <a:spLocks noGrp="1"/>
          </p:cNvSpPr>
          <p:nvPr>
            <p:ph sz="quarter" idx="12" hasCustomPrompt="1"/>
          </p:nvPr>
        </p:nvSpPr>
        <p:spPr>
          <a:xfrm>
            <a:off x="10811951" y="6237287"/>
            <a:ext cx="897503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tIns="0" rIns="0" anchor="b"/>
          <a:lstStyle>
            <a:lvl1pPr marL="0" indent="0" algn="ctr">
              <a:buNone/>
              <a:defRPr lang="en-US" sz="1200" dirty="0">
                <a:latin typeface="+mn-lt"/>
              </a:defRPr>
            </a:lvl1pPr>
          </a:lstStyle>
          <a:p>
            <a:pPr lvl="0"/>
            <a:r>
              <a:rPr lang="en-US" dirty="0"/>
              <a:t>YYYY-MM-DD</a:t>
            </a:r>
          </a:p>
        </p:txBody>
      </p:sp>
    </p:spTree>
    <p:extLst>
      <p:ext uri="{BB962C8B-B14F-4D97-AF65-F5344CB8AC3E}">
        <p14:creationId xmlns:p14="http://schemas.microsoft.com/office/powerpoint/2010/main" val="1795815372"/>
      </p:ext>
    </p:extLst>
  </p:cSld>
  <p:clrMapOvr>
    <a:masterClrMapping/>
  </p:clrMapOvr>
  <p:hf sldNum="0" hdr="0" ftr="0"/>
  <p:extLst mod="1"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Page w. Brigh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9A763E3F-D546-48DC-86FC-898851FBC7B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                                                                         Click icon to add a bright image</a:t>
            </a:r>
          </a:p>
        </p:txBody>
      </p:sp>
      <p:sp>
        <p:nvSpPr>
          <p:cNvPr id="22531" name="Title_TM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5" y="476250"/>
            <a:ext cx="8353426" cy="2330958"/>
          </a:xfrm>
        </p:spPr>
        <p:txBody>
          <a:bodyPr/>
          <a:lstStyle>
            <a:lvl1pPr>
              <a:lnSpc>
                <a:spcPct val="85000"/>
              </a:lnSpc>
              <a:defRPr sz="6000" b="0" kern="1400" spc="-160" baseline="0">
                <a:latin typeface="+mj-lt"/>
              </a:defRPr>
            </a:lvl1pPr>
          </a:lstStyle>
          <a:p>
            <a:r>
              <a:rPr lang="en-US" dirty="0"/>
              <a:t>Presentation title,</a:t>
            </a:r>
            <a:br>
              <a:rPr lang="en-US" dirty="0"/>
            </a:br>
            <a:r>
              <a:rPr lang="en-US" dirty="0"/>
              <a:t>Ericsson Hilda Light 60pt,</a:t>
            </a:r>
            <a:br>
              <a:rPr lang="en-US" dirty="0"/>
            </a:br>
            <a:r>
              <a:rPr lang="en-US" dirty="0"/>
              <a:t>Ericsson Black,</a:t>
            </a:r>
            <a:br>
              <a:rPr lang="en-US" dirty="0"/>
            </a:br>
            <a:r>
              <a:rPr lang="en-US" dirty="0"/>
              <a:t>max 4-lines</a:t>
            </a:r>
          </a:p>
        </p:txBody>
      </p:sp>
      <p:sp>
        <p:nvSpPr>
          <p:cNvPr id="22530" name="SubTitle_TM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5" y="4149725"/>
            <a:ext cx="5472114" cy="2087563"/>
          </a:xfrm>
          <a:prstGeom prst="rect">
            <a:avLst/>
          </a:prstGeom>
        </p:spPr>
        <p:txBody>
          <a:bodyPr lIns="7200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Presentation description/subtitle</a:t>
            </a:r>
            <a:br>
              <a:rPr lang="en-US" dirty="0"/>
            </a:br>
            <a:r>
              <a:rPr lang="en-US" dirty="0"/>
              <a:t>Ericsson Hilda 20pt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6E03516D-EC68-4282-84F4-9729304A51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90452" y="476250"/>
            <a:ext cx="256032" cy="256032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C3D47211-FF10-4DFA-A5AF-8E0A63463B47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40463" y="6237288"/>
            <a:ext cx="1910479" cy="287336"/>
          </a:xfrm>
          <a:prstGeom prst="rect">
            <a:avLst/>
          </a:prstGeom>
        </p:spPr>
        <p:txBody>
          <a:bodyPr wrap="none" anchor="b"/>
          <a:lstStyle>
            <a:lvl1pPr marL="0" indent="0" algn="r">
              <a:buNone/>
              <a:defRPr sz="1200">
                <a:latin typeface="+mn-lt"/>
              </a:defRPr>
            </a:lvl1pPr>
          </a:lstStyle>
          <a:p>
            <a:r>
              <a:rPr lang="en-US" dirty="0"/>
              <a:t>Speaker name</a:t>
            </a:r>
          </a:p>
        </p:txBody>
      </p:sp>
      <p:sp>
        <p:nvSpPr>
          <p:cNvPr id="11" name="Content Placeholder 11">
            <a:extLst>
              <a:ext uri="{FF2B5EF4-FFF2-40B4-BE49-F238E27FC236}">
                <a16:creationId xmlns:a16="http://schemas.microsoft.com/office/drawing/2014/main" id="{0E57E58D-AC34-4A4B-A5B1-CE1B53ABBDA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229600" y="6237287"/>
            <a:ext cx="2515041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rIns="0" anchor="b"/>
          <a:lstStyle>
            <a:lvl1pPr marL="0" indent="0" algn="ctr">
              <a:buNone/>
              <a:defRPr lang="en-US" sz="1200" dirty="0">
                <a:latin typeface="+mn-lt"/>
              </a:defRPr>
            </a:lvl1pPr>
          </a:lstStyle>
          <a:p>
            <a:r>
              <a:rPr lang="en-US" dirty="0"/>
              <a:t>Organization</a:t>
            </a: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A4CC6AB0-560E-4AE0-A93D-9C1C64F05440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0811951" y="6237287"/>
            <a:ext cx="897503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tIns="0" rIns="0" anchor="b"/>
          <a:lstStyle>
            <a:lvl1pPr marL="0" indent="0" algn="ctr">
              <a:buNone/>
              <a:defRPr lang="en-US" sz="1200" dirty="0">
                <a:latin typeface="+mn-lt"/>
              </a:defRPr>
            </a:lvl1pPr>
          </a:lstStyle>
          <a:p>
            <a:pPr lvl="0"/>
            <a:r>
              <a:rPr lang="en-US" dirty="0"/>
              <a:t>YYYY-MM-DD</a:t>
            </a:r>
          </a:p>
        </p:txBody>
      </p:sp>
    </p:spTree>
    <p:extLst>
      <p:ext uri="{BB962C8B-B14F-4D97-AF65-F5344CB8AC3E}">
        <p14:creationId xmlns:p14="http://schemas.microsoft.com/office/powerpoint/2010/main" val="4202814858"/>
      </p:ext>
    </p:extLst>
  </p:cSld>
  <p:clrMapOvr>
    <a:masterClrMapping/>
  </p:clrMapOvr>
  <p:hf sldNum="0" hdr="0" ftr="0"/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note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5EA31692-921B-434F-B398-8E2B345D16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2514" y="476250"/>
            <a:ext cx="190061" cy="256032"/>
          </a:xfrm>
          <a:prstGeom prst="rect">
            <a:avLst/>
          </a:prstGeom>
          <a:ln>
            <a:noFill/>
          </a:ln>
        </p:spPr>
      </p:pic>
      <p:sp>
        <p:nvSpPr>
          <p:cNvPr id="9" name="Title_TM">
            <a:extLst>
              <a:ext uri="{FF2B5EF4-FFF2-40B4-BE49-F238E27FC236}">
                <a16:creationId xmlns:a16="http://schemas.microsoft.com/office/drawing/2014/main" id="{696C7C8F-5086-466A-8108-2FE0A8663D59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5" y="476250"/>
            <a:ext cx="8353426" cy="3457575"/>
          </a:xfrm>
          <a:noFill/>
          <a:ln w="9525">
            <a:noFill/>
            <a:miter lim="800000"/>
            <a:headEnd/>
            <a:tailEnd/>
          </a:ln>
        </p:spPr>
        <p:txBody>
          <a:bodyPr anchor="t"/>
          <a:lstStyle>
            <a:lvl1pPr>
              <a:defRPr lang="en-US" sz="6000" b="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Keynote cover page, </a:t>
            </a:r>
            <a:br>
              <a:rPr lang="en-US" dirty="0"/>
            </a:br>
            <a:r>
              <a:rPr lang="en-US" dirty="0"/>
              <a:t>Ericsson Hilda Light 60pt, </a:t>
            </a:r>
            <a:br>
              <a:rPr lang="en-US" dirty="0"/>
            </a:br>
            <a:r>
              <a:rPr lang="en-US" dirty="0"/>
              <a:t>Ericsson Black, </a:t>
            </a:r>
            <a:br>
              <a:rPr lang="en-US" dirty="0"/>
            </a:br>
            <a:r>
              <a:rPr lang="en-US" dirty="0"/>
              <a:t>max 4-lines</a:t>
            </a:r>
          </a:p>
        </p:txBody>
      </p:sp>
      <p:sp>
        <p:nvSpPr>
          <p:cNvPr id="10" name="SubTitle_TM">
            <a:extLst>
              <a:ext uri="{FF2B5EF4-FFF2-40B4-BE49-F238E27FC236}">
                <a16:creationId xmlns:a16="http://schemas.microsoft.com/office/drawing/2014/main" id="{ED5DEA0B-CF0D-4EE6-B6A8-90BAF3DE8AF1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5" y="4149726"/>
            <a:ext cx="5472112" cy="2087562"/>
          </a:xfrm>
          <a:prstGeom prst="rect">
            <a:avLst/>
          </a:prstGeom>
        </p:spPr>
        <p:txBody>
          <a:bodyPr r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Speaker,</a:t>
            </a:r>
            <a:br>
              <a:rPr lang="en-US" dirty="0"/>
            </a:br>
            <a:r>
              <a:rPr lang="en-US" dirty="0"/>
              <a:t>Ericsson Black, Ericsson Hilda 20pt</a:t>
            </a:r>
          </a:p>
        </p:txBody>
      </p:sp>
    </p:spTree>
    <p:extLst>
      <p:ext uri="{BB962C8B-B14F-4D97-AF65-F5344CB8AC3E}">
        <p14:creationId xmlns:p14="http://schemas.microsoft.com/office/powerpoint/2010/main" val="1085322578"/>
      </p:ext>
    </p:extLst>
  </p:cSld>
  <p:clrMapOvr>
    <a:masterClrMapping/>
  </p:clrMapOvr>
  <p:hf sldNum="0" hdr="0" ftr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Page w. Dark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FAD780AD-21B6-4312-96C4-9E36B164887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                                                                         Click icon to add a dark  image</a:t>
            </a:r>
          </a:p>
        </p:txBody>
      </p:sp>
      <p:sp>
        <p:nvSpPr>
          <p:cNvPr id="22531" name="Title_TM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5" y="476250"/>
            <a:ext cx="8353426" cy="2330958"/>
          </a:xfrm>
        </p:spPr>
        <p:txBody>
          <a:bodyPr/>
          <a:lstStyle>
            <a:lvl1pPr>
              <a:lnSpc>
                <a:spcPct val="85000"/>
              </a:lnSpc>
              <a:defRPr sz="6000" b="0" kern="1400" spc="-16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Presentation title,</a:t>
            </a:r>
            <a:br>
              <a:rPr lang="en-US" dirty="0"/>
            </a:br>
            <a:r>
              <a:rPr lang="en-US" dirty="0"/>
              <a:t>Ericsson Hilda Light 60pt,</a:t>
            </a:r>
            <a:br>
              <a:rPr lang="en-US" dirty="0"/>
            </a:br>
            <a:r>
              <a:rPr lang="en-US" dirty="0"/>
              <a:t>Ericsson White,</a:t>
            </a:r>
            <a:br>
              <a:rPr lang="en-US" dirty="0"/>
            </a:br>
            <a:r>
              <a:rPr lang="en-US" dirty="0"/>
              <a:t>max 4-lines</a:t>
            </a:r>
          </a:p>
        </p:txBody>
      </p:sp>
      <p:sp>
        <p:nvSpPr>
          <p:cNvPr id="22530" name="SubTitle_TM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5" y="4149725"/>
            <a:ext cx="5472114" cy="2087563"/>
          </a:xfrm>
          <a:prstGeom prst="rect">
            <a:avLst/>
          </a:prstGeom>
        </p:spPr>
        <p:txBody>
          <a:bodyPr lIns="7200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Presentation description/subtitle</a:t>
            </a:r>
            <a:br>
              <a:rPr lang="en-US" dirty="0"/>
            </a:br>
            <a:r>
              <a:rPr lang="en-US" dirty="0"/>
              <a:t>Ericsson Hilda 20pt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E29FEEAB-1C1F-4153-BC50-6FCDEAC19C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87410" y="476250"/>
            <a:ext cx="261523" cy="261523"/>
          </a:xfrm>
          <a:prstGeom prst="rect">
            <a:avLst/>
          </a:prstGeom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7AC4DB9-933C-4680-A281-C11929BCC2F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40463" y="6237288"/>
            <a:ext cx="1910479" cy="287336"/>
          </a:xfrm>
          <a:prstGeom prst="rect">
            <a:avLst/>
          </a:prstGeom>
        </p:spPr>
        <p:txBody>
          <a:bodyPr wrap="none" anchor="b"/>
          <a:lstStyle>
            <a:lvl1pPr marL="0" indent="0" algn="r"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Speaker name</a:t>
            </a:r>
          </a:p>
        </p:txBody>
      </p:sp>
      <p:sp>
        <p:nvSpPr>
          <p:cNvPr id="11" name="Content Placeholder 11">
            <a:extLst>
              <a:ext uri="{FF2B5EF4-FFF2-40B4-BE49-F238E27FC236}">
                <a16:creationId xmlns:a16="http://schemas.microsoft.com/office/drawing/2014/main" id="{7B568BB6-C8A4-4545-B025-7D97CC4692B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229600" y="6237287"/>
            <a:ext cx="2515041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rIns="0" anchor="b"/>
          <a:lstStyle>
            <a:lvl1pPr marL="0" indent="0" algn="ctr">
              <a:buNone/>
              <a:defRPr lang="en-US" sz="1200" dirty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Organization</a:t>
            </a: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D51585B7-9911-4BC2-ACC7-3D991408BDD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0811951" y="6237287"/>
            <a:ext cx="897503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tIns="0" rIns="0" anchor="b"/>
          <a:lstStyle>
            <a:lvl1pPr marL="0" indent="0" algn="ctr">
              <a:buNone/>
              <a:defRPr lang="en-US" sz="120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YYYY-MM-DD</a:t>
            </a:r>
          </a:p>
        </p:txBody>
      </p:sp>
    </p:spTree>
    <p:extLst>
      <p:ext uri="{BB962C8B-B14F-4D97-AF65-F5344CB8AC3E}">
        <p14:creationId xmlns:p14="http://schemas.microsoft.com/office/powerpoint/2010/main" val="1875827718"/>
      </p:ext>
    </p:extLst>
  </p:cSld>
  <p:clrMapOvr>
    <a:masterClrMapping/>
  </p:clrMapOvr>
  <p:hf sldNum="0" hdr="0" ftr="0"/>
  <p:extLst mod="1"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eynote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_TM">
            <a:extLst>
              <a:ext uri="{FF2B5EF4-FFF2-40B4-BE49-F238E27FC236}">
                <a16:creationId xmlns:a16="http://schemas.microsoft.com/office/drawing/2014/main" id="{696C7C8F-5086-466A-8108-2FE0A8663D59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5" y="476250"/>
            <a:ext cx="8353426" cy="3457575"/>
          </a:xfrm>
          <a:noFill/>
          <a:ln w="9525">
            <a:noFill/>
            <a:miter lim="800000"/>
            <a:headEnd/>
            <a:tailEnd/>
          </a:ln>
        </p:spPr>
        <p:txBody>
          <a:bodyPr anchor="t"/>
          <a:lstStyle>
            <a:lvl1pPr>
              <a:defRPr lang="en-US" sz="6000" b="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Keynote cover page, </a:t>
            </a:r>
            <a:br>
              <a:rPr lang="en-US" dirty="0"/>
            </a:br>
            <a:r>
              <a:rPr lang="en-US" dirty="0"/>
              <a:t>Ericsson Hilda Light 60pt, </a:t>
            </a:r>
            <a:br>
              <a:rPr lang="en-US" dirty="0"/>
            </a:br>
            <a:r>
              <a:rPr lang="en-US" dirty="0"/>
              <a:t>Ericsson Black, </a:t>
            </a:r>
            <a:br>
              <a:rPr lang="en-US" dirty="0"/>
            </a:br>
            <a:r>
              <a:rPr lang="en-US" dirty="0"/>
              <a:t>max 4-lines</a:t>
            </a:r>
          </a:p>
        </p:txBody>
      </p:sp>
      <p:sp>
        <p:nvSpPr>
          <p:cNvPr id="10" name="SubTitle_TM">
            <a:extLst>
              <a:ext uri="{FF2B5EF4-FFF2-40B4-BE49-F238E27FC236}">
                <a16:creationId xmlns:a16="http://schemas.microsoft.com/office/drawing/2014/main" id="{ED5DEA0B-CF0D-4EE6-B6A8-90BAF3DE8AF1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5" y="4149726"/>
            <a:ext cx="5472112" cy="2087562"/>
          </a:xfrm>
          <a:prstGeom prst="rect">
            <a:avLst/>
          </a:prstGeom>
        </p:spPr>
        <p:txBody>
          <a:bodyPr r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Speaker,</a:t>
            </a:r>
            <a:br>
              <a:rPr lang="en-US" dirty="0"/>
            </a:br>
            <a:r>
              <a:rPr lang="en-US" dirty="0"/>
              <a:t>Ericsson Black, Ericsson Hilda 20pt</a:t>
            </a:r>
          </a:p>
        </p:txBody>
      </p:sp>
    </p:spTree>
    <p:extLst>
      <p:ext uri="{BB962C8B-B14F-4D97-AF65-F5344CB8AC3E}">
        <p14:creationId xmlns:p14="http://schemas.microsoft.com/office/powerpoint/2010/main" val="2713603462"/>
      </p:ext>
    </p:extLst>
  </p:cSld>
  <p:clrMapOvr>
    <a:masterClrMapping/>
  </p:clrMapOvr>
  <p:hf sldNum="0" hdr="0" ftr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eynote Cover Page w. Brigh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368127A-B068-4F16-BC03-AF06DDDB17A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                                                                         Click icon to add a bright image</a:t>
            </a:r>
          </a:p>
        </p:txBody>
      </p:sp>
      <p:sp>
        <p:nvSpPr>
          <p:cNvPr id="9" name="Title_TM">
            <a:extLst>
              <a:ext uri="{FF2B5EF4-FFF2-40B4-BE49-F238E27FC236}">
                <a16:creationId xmlns:a16="http://schemas.microsoft.com/office/drawing/2014/main" id="{696C7C8F-5086-466A-8108-2FE0A8663D59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5" y="476250"/>
            <a:ext cx="8353426" cy="2288721"/>
          </a:xfrm>
          <a:noFill/>
          <a:ln w="9525">
            <a:noFill/>
            <a:miter lim="800000"/>
            <a:headEnd/>
            <a:tailEnd/>
          </a:ln>
        </p:spPr>
        <p:txBody>
          <a:bodyPr anchor="t"/>
          <a:lstStyle>
            <a:lvl1pPr>
              <a:defRPr lang="en-US" sz="60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Keynote cover page, </a:t>
            </a:r>
            <a:br>
              <a:rPr lang="en-US" dirty="0"/>
            </a:br>
            <a:r>
              <a:rPr lang="en-US" dirty="0"/>
              <a:t>Ericsson Hilda Light 60pt, </a:t>
            </a:r>
            <a:br>
              <a:rPr lang="en-US" dirty="0"/>
            </a:br>
            <a:r>
              <a:rPr lang="en-US" dirty="0"/>
              <a:t>Ericsson Black, </a:t>
            </a:r>
            <a:br>
              <a:rPr lang="en-US" dirty="0"/>
            </a:br>
            <a:r>
              <a:rPr lang="en-US" dirty="0"/>
              <a:t>max 4-lines</a:t>
            </a:r>
          </a:p>
        </p:txBody>
      </p:sp>
      <p:sp>
        <p:nvSpPr>
          <p:cNvPr id="10" name="SubTitle_TM">
            <a:extLst>
              <a:ext uri="{FF2B5EF4-FFF2-40B4-BE49-F238E27FC236}">
                <a16:creationId xmlns:a16="http://schemas.microsoft.com/office/drawing/2014/main" id="{ED5DEA0B-CF0D-4EE6-B6A8-90BAF3DE8AF1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4" y="4149725"/>
            <a:ext cx="5472113" cy="2087563"/>
          </a:xfrm>
          <a:prstGeom prst="rect">
            <a:avLst/>
          </a:prstGeom>
        </p:spPr>
        <p:txBody>
          <a:bodyPr r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Speaker,</a:t>
            </a:r>
            <a:br>
              <a:rPr lang="en-US" dirty="0"/>
            </a:br>
            <a:r>
              <a:rPr lang="en-US" dirty="0"/>
              <a:t>Ericsson Black, Ericsson Hilda 20pt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E0F7625D-2507-407E-B5D2-5964ED88BA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90452" y="476250"/>
            <a:ext cx="256032" cy="256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3005486"/>
      </p:ext>
    </p:extLst>
  </p:cSld>
  <p:clrMapOvr>
    <a:masterClrMapping/>
  </p:clrMapOvr>
  <p:hf sldNum="0" hdr="0" ftr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eynote Cover Page w. Dark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368127A-B068-4F16-BC03-AF06DDDB17A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                                                                      Click icon to add a dark image</a:t>
            </a:r>
          </a:p>
        </p:txBody>
      </p:sp>
      <p:sp>
        <p:nvSpPr>
          <p:cNvPr id="9" name="Title_TM">
            <a:extLst>
              <a:ext uri="{FF2B5EF4-FFF2-40B4-BE49-F238E27FC236}">
                <a16:creationId xmlns:a16="http://schemas.microsoft.com/office/drawing/2014/main" id="{696C7C8F-5086-466A-8108-2FE0A8663D59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5" y="476250"/>
            <a:ext cx="8353426" cy="2288721"/>
          </a:xfrm>
          <a:noFill/>
          <a:ln w="9525">
            <a:noFill/>
            <a:miter lim="800000"/>
            <a:headEnd/>
            <a:tailEnd/>
          </a:ln>
        </p:spPr>
        <p:txBody>
          <a:bodyPr anchor="t"/>
          <a:lstStyle>
            <a:lvl1pPr>
              <a:defRPr lang="en-US" sz="60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Keynote cover cage, </a:t>
            </a:r>
            <a:br>
              <a:rPr lang="en-US" dirty="0"/>
            </a:br>
            <a:r>
              <a:rPr lang="en-US" dirty="0"/>
              <a:t>Ericsson Hilda Light 60pt, </a:t>
            </a:r>
            <a:br>
              <a:rPr lang="en-US" dirty="0"/>
            </a:br>
            <a:r>
              <a:rPr lang="en-US" dirty="0"/>
              <a:t>Ericsson White, </a:t>
            </a:r>
            <a:br>
              <a:rPr lang="en-US" dirty="0"/>
            </a:br>
            <a:r>
              <a:rPr lang="en-US" dirty="0"/>
              <a:t>max 4-lines</a:t>
            </a:r>
          </a:p>
        </p:txBody>
      </p:sp>
      <p:sp>
        <p:nvSpPr>
          <p:cNvPr id="10" name="SubTitle_TM">
            <a:extLst>
              <a:ext uri="{FF2B5EF4-FFF2-40B4-BE49-F238E27FC236}">
                <a16:creationId xmlns:a16="http://schemas.microsoft.com/office/drawing/2014/main" id="{ED5DEA0B-CF0D-4EE6-B6A8-90BAF3DE8AF1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4" y="4149725"/>
            <a:ext cx="5472113" cy="2087563"/>
          </a:xfrm>
          <a:prstGeom prst="rect">
            <a:avLst/>
          </a:prstGeom>
        </p:spPr>
        <p:txBody>
          <a:bodyPr r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Speaker,</a:t>
            </a:r>
            <a:br>
              <a:rPr lang="en-US" dirty="0"/>
            </a:br>
            <a:r>
              <a:rPr lang="en-US" dirty="0"/>
              <a:t>Ericsson Black, Ericsson Hilda 20pt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753C092-06FE-4B22-BAB1-EBEB69074D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87410" y="476250"/>
            <a:ext cx="261523" cy="261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7165986"/>
      </p:ext>
    </p:extLst>
  </p:cSld>
  <p:clrMapOvr>
    <a:masterClrMapping/>
  </p:clrMapOvr>
  <p:hf sldNum="0" hdr="0" ftr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atem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2000" rIns="72000"/>
          <a:lstStyle/>
          <a:p>
            <a:pPr>
              <a:spcBef>
                <a:spcPct val="50000"/>
              </a:spcBef>
              <a:defRPr/>
            </a:pPr>
            <a:endParaRPr lang="en-US" dirty="0">
              <a:latin typeface="Ericsson Hilda Light" panose="00000400000000000000" pitchFamily="2" charset="0"/>
              <a:cs typeface="+mn-cs"/>
            </a:endParaRPr>
          </a:p>
        </p:txBody>
      </p:sp>
      <p:sp>
        <p:nvSpPr>
          <p:cNvPr id="11" name="Title_TM">
            <a:extLst>
              <a:ext uri="{FF2B5EF4-FFF2-40B4-BE49-F238E27FC236}">
                <a16:creationId xmlns:a16="http://schemas.microsoft.com/office/drawing/2014/main" id="{48FE7FF9-3930-4C4A-8BC6-EB9A286812D4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4" y="476250"/>
            <a:ext cx="8353425" cy="3457575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 lang="en-US" sz="60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hapter/section divider or Statement/fact/quote, </a:t>
            </a:r>
            <a:br>
              <a:rPr lang="en-US" dirty="0"/>
            </a:br>
            <a:r>
              <a:rPr lang="en-US" dirty="0"/>
              <a:t>Ericsson Hilda Light 60pt, </a:t>
            </a:r>
            <a:br>
              <a:rPr lang="en-US" dirty="0"/>
            </a:br>
            <a:r>
              <a:rPr lang="en-US" dirty="0"/>
              <a:t>Ericsson White, </a:t>
            </a:r>
            <a:br>
              <a:rPr lang="en-US" dirty="0"/>
            </a:br>
            <a:r>
              <a:rPr lang="en-US" dirty="0"/>
              <a:t>max 5-lines</a:t>
            </a:r>
          </a:p>
        </p:txBody>
      </p:sp>
      <p:sp>
        <p:nvSpPr>
          <p:cNvPr id="12" name="SubTitle_TM">
            <a:extLst>
              <a:ext uri="{FF2B5EF4-FFF2-40B4-BE49-F238E27FC236}">
                <a16:creationId xmlns:a16="http://schemas.microsoft.com/office/drawing/2014/main" id="{A60848B0-180A-4C02-A8B3-E172AF538B61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5" y="4149725"/>
            <a:ext cx="5472113" cy="2087563"/>
          </a:xfrm>
          <a:prstGeom prst="rect">
            <a:avLst/>
          </a:prstGeom>
        </p:spPr>
        <p:txBody>
          <a:bodyPr r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Statement/quote source, </a:t>
            </a:r>
          </a:p>
          <a:p>
            <a:r>
              <a:rPr lang="en-US" dirty="0"/>
              <a:t>Ericsson White, Ericsson Hilda 20pt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5035D0DD-E99D-4FBA-B8C0-65E91EC0492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87410" y="476250"/>
            <a:ext cx="261523" cy="261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7914086"/>
      </p:ext>
    </p:extLst>
  </p:cSld>
  <p:clrMapOvr>
    <a:masterClrMapping/>
  </p:clrMapOvr>
  <p:hf sldNum="0" hdr="0" ftr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atement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72000" rIns="72000"/>
          <a:lstStyle>
            <a:lvl1pPr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1pPr>
            <a:lvl2pPr marL="742950" indent="-28575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2pPr>
            <a:lvl3pPr marL="11430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3pPr>
            <a:lvl4pPr marL="16002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4pPr>
            <a:lvl5pPr marL="20574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ricsson Hilda Light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ricsson Hilda Light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ricsson Hilda Light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ricsson Hilda Light" pitchFamily="34" charset="0"/>
              </a:defRPr>
            </a:lvl9pPr>
          </a:lstStyle>
          <a:p>
            <a:pPr eaLnBrk="1" hangingPunct="1">
              <a:defRPr/>
            </a:pPr>
            <a:endParaRPr lang="en-US" altLang="en-US" dirty="0">
              <a:latin typeface="Ericsson Hilda Light" panose="00000400000000000000" pitchFamily="2" charset="0"/>
            </a:endParaRPr>
          </a:p>
        </p:txBody>
      </p:sp>
      <p:sp>
        <p:nvSpPr>
          <p:cNvPr id="10" name="Title_TM">
            <a:extLst>
              <a:ext uri="{FF2B5EF4-FFF2-40B4-BE49-F238E27FC236}">
                <a16:creationId xmlns:a16="http://schemas.microsoft.com/office/drawing/2014/main" id="{4F3FE80A-6B53-492B-8FC1-A575806A0D00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5" y="476250"/>
            <a:ext cx="8353426" cy="3457575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 lang="en-US" sz="60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hapter/section divider or Statement/fact/quote, </a:t>
            </a:r>
            <a:br>
              <a:rPr lang="en-US" dirty="0"/>
            </a:br>
            <a:r>
              <a:rPr lang="en-US" dirty="0"/>
              <a:t>Ericsson Hilda Light 60pt, </a:t>
            </a:r>
            <a:br>
              <a:rPr lang="en-US" dirty="0"/>
            </a:br>
            <a:r>
              <a:rPr lang="en-US" dirty="0"/>
              <a:t>Ericsson White, </a:t>
            </a:r>
            <a:br>
              <a:rPr lang="en-US" dirty="0"/>
            </a:br>
            <a:r>
              <a:rPr lang="en-US" dirty="0"/>
              <a:t>max 5-lines</a:t>
            </a:r>
          </a:p>
        </p:txBody>
      </p:sp>
      <p:sp>
        <p:nvSpPr>
          <p:cNvPr id="11" name="SubTitle_TM">
            <a:extLst>
              <a:ext uri="{FF2B5EF4-FFF2-40B4-BE49-F238E27FC236}">
                <a16:creationId xmlns:a16="http://schemas.microsoft.com/office/drawing/2014/main" id="{3AECA499-20B0-4F79-85A2-1C9D1BFBB0C0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4" y="4149725"/>
            <a:ext cx="5472113" cy="2087563"/>
          </a:xfrm>
          <a:prstGeom prst="rect">
            <a:avLst/>
          </a:prstGeom>
        </p:spPr>
        <p:txBody>
          <a:bodyPr r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Statement/quote source, </a:t>
            </a:r>
          </a:p>
          <a:p>
            <a:r>
              <a:rPr lang="en-US" dirty="0"/>
              <a:t>Ericsson White, Ericsson Hilda 20pt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B77A080-9B1F-4D75-A79E-8C7540FBB1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87410" y="476250"/>
            <a:ext cx="261523" cy="261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794119"/>
      </p:ext>
    </p:extLst>
  </p:cSld>
  <p:clrMapOvr>
    <a:masterClrMapping/>
  </p:clrMapOvr>
  <p:hf sldNum="0" hdr="0" ftr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atement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2000" rIns="72000"/>
          <a:lstStyle/>
          <a:p>
            <a:pPr>
              <a:spcBef>
                <a:spcPct val="50000"/>
              </a:spcBef>
              <a:defRPr/>
            </a:pPr>
            <a:endParaRPr lang="en-US" dirty="0">
              <a:latin typeface="Ericsson Hilda Light" panose="00000400000000000000" pitchFamily="2" charset="0"/>
              <a:cs typeface="+mn-cs"/>
            </a:endParaRPr>
          </a:p>
        </p:txBody>
      </p:sp>
      <p:sp>
        <p:nvSpPr>
          <p:cNvPr id="10" name="Title_TM">
            <a:extLst>
              <a:ext uri="{FF2B5EF4-FFF2-40B4-BE49-F238E27FC236}">
                <a16:creationId xmlns:a16="http://schemas.microsoft.com/office/drawing/2014/main" id="{6AB007D5-DA18-4842-9C2D-8C72512602C0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5" y="476250"/>
            <a:ext cx="8353426" cy="3457575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 lang="en-US" sz="60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hapter/section divider or Statement/fact/quote, </a:t>
            </a:r>
            <a:br>
              <a:rPr lang="en-US" dirty="0"/>
            </a:br>
            <a:r>
              <a:rPr lang="en-US" dirty="0"/>
              <a:t>Ericsson Hilda Light 60pt, </a:t>
            </a:r>
            <a:br>
              <a:rPr lang="en-US" dirty="0"/>
            </a:br>
            <a:r>
              <a:rPr lang="en-US" dirty="0"/>
              <a:t>Ericsson White, </a:t>
            </a:r>
            <a:br>
              <a:rPr lang="en-US" dirty="0"/>
            </a:br>
            <a:r>
              <a:rPr lang="en-US" dirty="0"/>
              <a:t>max 5-lines</a:t>
            </a:r>
          </a:p>
        </p:txBody>
      </p:sp>
      <p:sp>
        <p:nvSpPr>
          <p:cNvPr id="11" name="SubTitle_TM">
            <a:extLst>
              <a:ext uri="{FF2B5EF4-FFF2-40B4-BE49-F238E27FC236}">
                <a16:creationId xmlns:a16="http://schemas.microsoft.com/office/drawing/2014/main" id="{0D3699C9-F9CA-4781-89C3-F0A901D1F1AF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4" y="4149725"/>
            <a:ext cx="5472113" cy="2087563"/>
          </a:xfrm>
          <a:prstGeom prst="rect">
            <a:avLst/>
          </a:prstGeom>
        </p:spPr>
        <p:txBody>
          <a:bodyPr r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Statement/quote source, </a:t>
            </a:r>
          </a:p>
          <a:p>
            <a:r>
              <a:rPr lang="en-US" dirty="0"/>
              <a:t>Ericsson White, Ericsson Hilda 20pt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01042C2C-5CDA-4F99-B59E-8CE43FEF21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87410" y="476250"/>
            <a:ext cx="261523" cy="261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692497"/>
      </p:ext>
    </p:extLst>
  </p:cSld>
  <p:clrMapOvr>
    <a:masterClrMapping/>
  </p:clrMapOvr>
  <p:hf sldNum="0" hdr="0" ftr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atement P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  <a:extLst/>
        </p:spPr>
        <p:txBody>
          <a:bodyPr wrap="none" lIns="72000" rIns="72000"/>
          <a:lstStyle>
            <a:lvl1pPr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1pPr>
            <a:lvl2pPr marL="742950" indent="-28575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2pPr>
            <a:lvl3pPr marL="11430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3pPr>
            <a:lvl4pPr marL="16002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4pPr>
            <a:lvl5pPr marL="20574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ricsson Hilda Light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ricsson Hilda Light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ricsson Hilda Light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ricsson Hilda Light" pitchFamily="34" charset="0"/>
              </a:defRPr>
            </a:lvl9pPr>
          </a:lstStyle>
          <a:p>
            <a:pPr eaLnBrk="1" hangingPunct="1">
              <a:defRPr/>
            </a:pPr>
            <a:endParaRPr lang="en-US" altLang="en-US" dirty="0">
              <a:latin typeface="Ericsson Hilda Light" panose="00000400000000000000" pitchFamily="2" charset="0"/>
            </a:endParaRPr>
          </a:p>
        </p:txBody>
      </p:sp>
      <p:sp>
        <p:nvSpPr>
          <p:cNvPr id="10" name="Title_TM">
            <a:extLst>
              <a:ext uri="{FF2B5EF4-FFF2-40B4-BE49-F238E27FC236}">
                <a16:creationId xmlns:a16="http://schemas.microsoft.com/office/drawing/2014/main" id="{F1368AB3-821C-4A71-B119-C0A8AA44A93F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5" y="476250"/>
            <a:ext cx="8353426" cy="3457575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 lang="en-US" sz="60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hapter/section divider or Statement/fact/quote, </a:t>
            </a:r>
            <a:br>
              <a:rPr lang="en-US" dirty="0"/>
            </a:br>
            <a:r>
              <a:rPr lang="en-US" dirty="0"/>
              <a:t>Ericsson Hilda Light 60pt, </a:t>
            </a:r>
            <a:br>
              <a:rPr lang="en-US" dirty="0"/>
            </a:br>
            <a:r>
              <a:rPr lang="en-US" dirty="0"/>
              <a:t>Ericsson White, </a:t>
            </a:r>
            <a:br>
              <a:rPr lang="en-US" dirty="0"/>
            </a:br>
            <a:r>
              <a:rPr lang="en-US" dirty="0"/>
              <a:t>max 5-lines</a:t>
            </a:r>
          </a:p>
        </p:txBody>
      </p:sp>
      <p:sp>
        <p:nvSpPr>
          <p:cNvPr id="11" name="SubTitle_TM">
            <a:extLst>
              <a:ext uri="{FF2B5EF4-FFF2-40B4-BE49-F238E27FC236}">
                <a16:creationId xmlns:a16="http://schemas.microsoft.com/office/drawing/2014/main" id="{8561E9FC-533B-4891-A7E3-A3DDB1BD26FB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80218" y="4149725"/>
            <a:ext cx="5472113" cy="2087563"/>
          </a:xfrm>
          <a:prstGeom prst="rect">
            <a:avLst/>
          </a:prstGeom>
        </p:spPr>
        <p:txBody>
          <a:bodyPr r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Statement/quote source, </a:t>
            </a:r>
          </a:p>
          <a:p>
            <a:r>
              <a:rPr lang="en-US" dirty="0"/>
              <a:t>Ericsson White, Ericsson Hilda 20pt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54A0CF15-A701-44C3-81FC-A544265685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87410" y="476250"/>
            <a:ext cx="261523" cy="261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6933571"/>
      </p:ext>
    </p:extLst>
  </p:cSld>
  <p:clrMapOvr>
    <a:masterClrMapping/>
  </p:clrMapOvr>
  <p:hf sldNum="0" hdr="0" ftr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atement Pag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  <a:extLst/>
        </p:spPr>
        <p:txBody>
          <a:bodyPr wrap="none" lIns="72000" rIns="72000"/>
          <a:lstStyle>
            <a:lvl1pPr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1pPr>
            <a:lvl2pPr marL="742950" indent="-28575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2pPr>
            <a:lvl3pPr marL="11430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3pPr>
            <a:lvl4pPr marL="16002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4pPr>
            <a:lvl5pPr marL="20574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ricsson Hilda Light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ricsson Hilda Light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ricsson Hilda Light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ricsson Hilda Light" pitchFamily="34" charset="0"/>
              </a:defRPr>
            </a:lvl9pPr>
          </a:lstStyle>
          <a:p>
            <a:pPr eaLnBrk="1" hangingPunct="1">
              <a:defRPr/>
            </a:pPr>
            <a:endParaRPr lang="en-US" altLang="en-US" dirty="0">
              <a:latin typeface="Ericsson Hilda Light" panose="00000400000000000000" pitchFamily="2" charset="0"/>
            </a:endParaRPr>
          </a:p>
        </p:txBody>
      </p:sp>
      <p:sp>
        <p:nvSpPr>
          <p:cNvPr id="12" name="Title_TM">
            <a:extLst>
              <a:ext uri="{FF2B5EF4-FFF2-40B4-BE49-F238E27FC236}">
                <a16:creationId xmlns:a16="http://schemas.microsoft.com/office/drawing/2014/main" id="{93CB56C1-2916-4C60-8532-A023564D2C57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4" y="476250"/>
            <a:ext cx="8353425" cy="3457575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 lang="en-US" sz="60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hapter/section divider or Statement/fact/quote, </a:t>
            </a:r>
            <a:br>
              <a:rPr lang="en-US" dirty="0"/>
            </a:br>
            <a:r>
              <a:rPr lang="en-US" dirty="0"/>
              <a:t>Ericsson Hilda Light 60pt, </a:t>
            </a:r>
            <a:br>
              <a:rPr lang="en-US" dirty="0"/>
            </a:br>
            <a:r>
              <a:rPr lang="en-US" dirty="0"/>
              <a:t>Ericsson White, </a:t>
            </a:r>
            <a:br>
              <a:rPr lang="en-US" dirty="0"/>
            </a:br>
            <a:r>
              <a:rPr lang="en-US" dirty="0"/>
              <a:t>max 5-lines</a:t>
            </a:r>
          </a:p>
        </p:txBody>
      </p:sp>
      <p:sp>
        <p:nvSpPr>
          <p:cNvPr id="13" name="SubTitle_TM">
            <a:extLst>
              <a:ext uri="{FF2B5EF4-FFF2-40B4-BE49-F238E27FC236}">
                <a16:creationId xmlns:a16="http://schemas.microsoft.com/office/drawing/2014/main" id="{61DC6511-5700-4E95-89CA-81484C248C03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5" y="4149725"/>
            <a:ext cx="5472113" cy="2087563"/>
          </a:xfrm>
          <a:prstGeom prst="rect">
            <a:avLst/>
          </a:prstGeom>
        </p:spPr>
        <p:txBody>
          <a:bodyPr r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Statement/quote source, </a:t>
            </a:r>
          </a:p>
          <a:p>
            <a:r>
              <a:rPr lang="en-US" dirty="0"/>
              <a:t>Ericsson White, Ericsson Hilda 20pt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34B7B746-B315-4EB5-B3A2-CA259B065B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87410" y="476250"/>
            <a:ext cx="261523" cy="261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3703718"/>
      </p:ext>
    </p:extLst>
  </p:cSld>
  <p:clrMapOvr>
    <a:masterClrMapping/>
  </p:clrMapOvr>
  <p:hf sldNum="0" hdr="0" ftr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atement Pag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  <a:extLst/>
        </p:spPr>
        <p:txBody>
          <a:bodyPr wrap="none" lIns="72000" rIns="72000"/>
          <a:lstStyle>
            <a:lvl1pPr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1pPr>
            <a:lvl2pPr marL="742950" indent="-28575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2pPr>
            <a:lvl3pPr marL="11430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3pPr>
            <a:lvl4pPr marL="16002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4pPr>
            <a:lvl5pPr marL="20574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ricsson Hilda Light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ricsson Hilda Light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ricsson Hilda Light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ricsson Hilda Light" pitchFamily="34" charset="0"/>
              </a:defRPr>
            </a:lvl9pPr>
          </a:lstStyle>
          <a:p>
            <a:pPr eaLnBrk="1" hangingPunct="1">
              <a:defRPr/>
            </a:pPr>
            <a:endParaRPr lang="en-US" altLang="en-US" dirty="0">
              <a:latin typeface="Ericsson Hilda Light" panose="00000400000000000000" pitchFamily="2" charset="0"/>
            </a:endParaRPr>
          </a:p>
        </p:txBody>
      </p:sp>
      <p:sp>
        <p:nvSpPr>
          <p:cNvPr id="12" name="Title_TM">
            <a:extLst>
              <a:ext uri="{FF2B5EF4-FFF2-40B4-BE49-F238E27FC236}">
                <a16:creationId xmlns:a16="http://schemas.microsoft.com/office/drawing/2014/main" id="{93CB56C1-2916-4C60-8532-A023564D2C57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4" y="476250"/>
            <a:ext cx="8353425" cy="3457575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 lang="en-US" sz="60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hapter/section divider or Statement/fact/quote, </a:t>
            </a:r>
            <a:br>
              <a:rPr lang="en-US" dirty="0"/>
            </a:br>
            <a:r>
              <a:rPr lang="en-US" dirty="0"/>
              <a:t>Ericsson Hilda Light 60pt, </a:t>
            </a:r>
            <a:br>
              <a:rPr lang="en-US" dirty="0"/>
            </a:br>
            <a:r>
              <a:rPr lang="en-US" dirty="0"/>
              <a:t>Ericsson White, </a:t>
            </a:r>
            <a:br>
              <a:rPr lang="en-US" dirty="0"/>
            </a:br>
            <a:r>
              <a:rPr lang="en-US" dirty="0"/>
              <a:t>max 5-lines</a:t>
            </a:r>
          </a:p>
        </p:txBody>
      </p:sp>
      <p:sp>
        <p:nvSpPr>
          <p:cNvPr id="13" name="SubTitle_TM">
            <a:extLst>
              <a:ext uri="{FF2B5EF4-FFF2-40B4-BE49-F238E27FC236}">
                <a16:creationId xmlns:a16="http://schemas.microsoft.com/office/drawing/2014/main" id="{61DC6511-5700-4E95-89CA-81484C248C03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5" y="4149725"/>
            <a:ext cx="5472113" cy="2087563"/>
          </a:xfrm>
          <a:prstGeom prst="rect">
            <a:avLst/>
          </a:prstGeom>
        </p:spPr>
        <p:txBody>
          <a:bodyPr r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Statement/quote source, </a:t>
            </a:r>
          </a:p>
          <a:p>
            <a:r>
              <a:rPr lang="en-US" dirty="0"/>
              <a:t>Ericsson White, Ericsson Hilda 20pt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6096BBFC-712A-429D-9C0A-7743993E7F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87410" y="476250"/>
            <a:ext cx="261523" cy="261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9102082"/>
      </p:ext>
    </p:extLst>
  </p:cSld>
  <p:clrMapOvr>
    <a:masterClrMapping/>
  </p:clrMapOvr>
  <p:hf sldNum="0" hdr="0" ft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note Cover Page w. Brigh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368127A-B068-4F16-BC03-AF06DDDB17A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                                                                         Click icon to add a bright image</a:t>
            </a:r>
          </a:p>
        </p:txBody>
      </p:sp>
      <p:sp>
        <p:nvSpPr>
          <p:cNvPr id="9" name="Title_TM">
            <a:extLst>
              <a:ext uri="{FF2B5EF4-FFF2-40B4-BE49-F238E27FC236}">
                <a16:creationId xmlns:a16="http://schemas.microsoft.com/office/drawing/2014/main" id="{696C7C8F-5086-466A-8108-2FE0A8663D59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5" y="476250"/>
            <a:ext cx="8353426" cy="2288721"/>
          </a:xfrm>
          <a:noFill/>
          <a:ln w="9525">
            <a:noFill/>
            <a:miter lim="800000"/>
            <a:headEnd/>
            <a:tailEnd/>
          </a:ln>
        </p:spPr>
        <p:txBody>
          <a:bodyPr anchor="t"/>
          <a:lstStyle>
            <a:lvl1pPr>
              <a:defRPr lang="en-US" sz="60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Keynote cover page, </a:t>
            </a:r>
            <a:br>
              <a:rPr lang="en-US" dirty="0"/>
            </a:br>
            <a:r>
              <a:rPr lang="en-US" dirty="0"/>
              <a:t>Ericsson Hilda Light 60pt, </a:t>
            </a:r>
            <a:br>
              <a:rPr lang="en-US" dirty="0"/>
            </a:br>
            <a:r>
              <a:rPr lang="en-US" dirty="0"/>
              <a:t>Ericsson Black, </a:t>
            </a:r>
            <a:br>
              <a:rPr lang="en-US" dirty="0"/>
            </a:br>
            <a:r>
              <a:rPr lang="en-US" dirty="0"/>
              <a:t>max 4-lines</a:t>
            </a:r>
          </a:p>
        </p:txBody>
      </p:sp>
      <p:sp>
        <p:nvSpPr>
          <p:cNvPr id="10" name="SubTitle_TM">
            <a:extLst>
              <a:ext uri="{FF2B5EF4-FFF2-40B4-BE49-F238E27FC236}">
                <a16:creationId xmlns:a16="http://schemas.microsoft.com/office/drawing/2014/main" id="{ED5DEA0B-CF0D-4EE6-B6A8-90BAF3DE8AF1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4" y="4149725"/>
            <a:ext cx="5472113" cy="2087563"/>
          </a:xfrm>
          <a:prstGeom prst="rect">
            <a:avLst/>
          </a:prstGeom>
        </p:spPr>
        <p:txBody>
          <a:bodyPr r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Speaker,</a:t>
            </a:r>
            <a:br>
              <a:rPr lang="en-US" dirty="0"/>
            </a:br>
            <a:r>
              <a:rPr lang="en-US" dirty="0"/>
              <a:t>Ericsson Black, Ericsson Hilda 20p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EA31692-921B-434F-B398-8E2B345D16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2514" y="476250"/>
            <a:ext cx="190061" cy="256032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77055427"/>
      </p:ext>
    </p:extLst>
  </p:cSld>
  <p:clrMapOvr>
    <a:masterClrMapping/>
  </p:clrMapOvr>
  <p:hf sldNum="0" hdr="0" ftr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Pag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_TM">
            <a:extLst>
              <a:ext uri="{FF2B5EF4-FFF2-40B4-BE49-F238E27FC236}">
                <a16:creationId xmlns:a16="http://schemas.microsoft.com/office/drawing/2014/main" id="{696C7C8F-5086-466A-8108-2FE0A8663D59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5" y="476250"/>
            <a:ext cx="8353426" cy="3457575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 lang="en-US" sz="60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hapter/section divider or Statement/fact/quote, </a:t>
            </a:r>
            <a:br>
              <a:rPr lang="en-US" dirty="0"/>
            </a:br>
            <a:r>
              <a:rPr lang="en-US" dirty="0"/>
              <a:t>Ericsson Hilda Light 60pt, </a:t>
            </a:r>
            <a:br>
              <a:rPr lang="en-US" dirty="0"/>
            </a:br>
            <a:r>
              <a:rPr lang="en-US" dirty="0"/>
              <a:t>Ericsson Black, </a:t>
            </a:r>
            <a:br>
              <a:rPr lang="en-US" dirty="0"/>
            </a:br>
            <a:r>
              <a:rPr lang="en-US" dirty="0"/>
              <a:t>max 5-lines</a:t>
            </a:r>
          </a:p>
        </p:txBody>
      </p:sp>
      <p:sp>
        <p:nvSpPr>
          <p:cNvPr id="10" name="SubTitle_TM">
            <a:extLst>
              <a:ext uri="{FF2B5EF4-FFF2-40B4-BE49-F238E27FC236}">
                <a16:creationId xmlns:a16="http://schemas.microsoft.com/office/drawing/2014/main" id="{ED5DEA0B-CF0D-4EE6-B6A8-90BAF3DE8AF1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5" y="4149725"/>
            <a:ext cx="5472114" cy="2087563"/>
          </a:xfrm>
          <a:prstGeom prst="rect">
            <a:avLst/>
          </a:prstGeom>
        </p:spPr>
        <p:txBody>
          <a:bodyPr r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Statement/quote source, </a:t>
            </a:r>
          </a:p>
          <a:p>
            <a:r>
              <a:rPr lang="en-US" dirty="0"/>
              <a:t>Ericsson Black, Ericsson Hilda 20pt</a:t>
            </a:r>
          </a:p>
        </p:txBody>
      </p:sp>
    </p:spTree>
    <p:extLst>
      <p:ext uri="{BB962C8B-B14F-4D97-AF65-F5344CB8AC3E}">
        <p14:creationId xmlns:p14="http://schemas.microsoft.com/office/powerpoint/2010/main" val="99814263"/>
      </p:ext>
    </p:extLst>
  </p:cSld>
  <p:clrMapOvr>
    <a:masterClrMapping/>
  </p:clrMapOvr>
  <p:hf sldNum="0" hdr="0" ftr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ter/Sectio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Title_TM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5" y="476251"/>
            <a:ext cx="8353425" cy="3457574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 lang="en-US" sz="6000" b="0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hapter/section, </a:t>
            </a:r>
            <a:br>
              <a:rPr lang="en-US" dirty="0"/>
            </a:br>
            <a:r>
              <a:rPr lang="en-US" dirty="0"/>
              <a:t>Ericsson Hilda Light 60pt, Ericsson Black, </a:t>
            </a:r>
            <a:br>
              <a:rPr lang="en-US" dirty="0"/>
            </a:br>
            <a:r>
              <a:rPr lang="en-US" dirty="0"/>
              <a:t>max 4-lines</a:t>
            </a:r>
          </a:p>
        </p:txBody>
      </p:sp>
    </p:spTree>
    <p:extLst>
      <p:ext uri="{BB962C8B-B14F-4D97-AF65-F5344CB8AC3E}">
        <p14:creationId xmlns:p14="http://schemas.microsoft.com/office/powerpoint/2010/main" val="1928244463"/>
      </p:ext>
    </p:extLst>
  </p:cSld>
  <p:clrMapOvr>
    <a:masterClrMapping/>
  </p:clrMapOvr>
  <p:hf sldNum="0" hdr="0" ftr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8353425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</p:spTree>
    <p:extLst>
      <p:ext uri="{BB962C8B-B14F-4D97-AF65-F5344CB8AC3E}">
        <p14:creationId xmlns:p14="http://schemas.microsoft.com/office/powerpoint/2010/main" val="68459709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54D93672-2A04-4EF3-916F-2C920729FB07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2000" rIns="72000"/>
          <a:lstStyle/>
          <a:p>
            <a:pPr>
              <a:spcBef>
                <a:spcPct val="50000"/>
              </a:spcBef>
              <a:defRPr/>
            </a:pPr>
            <a:endParaRPr lang="en-US" dirty="0">
              <a:latin typeface="Ericsson Hilda Light" panose="00000400000000000000" pitchFamily="2" charset="0"/>
              <a:cs typeface="+mn-cs"/>
            </a:endParaRPr>
          </a:p>
        </p:txBody>
      </p:sp>
      <p:sp>
        <p:nvSpPr>
          <p:cNvPr id="4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8353425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0613FB31-E723-434D-8FBC-0054A54163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87410" y="476250"/>
            <a:ext cx="261523" cy="261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712594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54D93672-2A04-4EF3-916F-2C920729FB07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2000" rIns="72000"/>
          <a:lstStyle/>
          <a:p>
            <a:pPr>
              <a:spcBef>
                <a:spcPct val="50000"/>
              </a:spcBef>
              <a:defRPr/>
            </a:pPr>
            <a:endParaRPr lang="en-US" dirty="0">
              <a:latin typeface="Ericsson Hilda Light" panose="00000400000000000000" pitchFamily="2" charset="0"/>
              <a:cs typeface="+mn-cs"/>
            </a:endParaRPr>
          </a:p>
        </p:txBody>
      </p:sp>
      <p:sp>
        <p:nvSpPr>
          <p:cNvPr id="4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8353425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2EAEE37-7D1D-49D7-BEC8-7A88843E38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87410" y="476250"/>
            <a:ext cx="261523" cy="261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262491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54D93672-2A04-4EF3-916F-2C920729FB07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2000" rIns="72000"/>
          <a:lstStyle/>
          <a:p>
            <a:pPr>
              <a:spcBef>
                <a:spcPct val="50000"/>
              </a:spcBef>
              <a:defRPr/>
            </a:pPr>
            <a:endParaRPr lang="en-US" dirty="0">
              <a:latin typeface="Ericsson Hilda Light" panose="00000400000000000000" pitchFamily="2" charset="0"/>
              <a:cs typeface="+mn-cs"/>
            </a:endParaRPr>
          </a:p>
        </p:txBody>
      </p:sp>
      <p:sp>
        <p:nvSpPr>
          <p:cNvPr id="4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8353425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44C7C5B-04BF-4F0E-888E-CE87D0EF1D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87410" y="476250"/>
            <a:ext cx="261523" cy="261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442816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54D93672-2A04-4EF3-916F-2C920729FB07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2000" rIns="72000"/>
          <a:lstStyle/>
          <a:p>
            <a:pPr>
              <a:spcBef>
                <a:spcPct val="50000"/>
              </a:spcBef>
              <a:defRPr/>
            </a:pPr>
            <a:endParaRPr lang="en-US" dirty="0">
              <a:latin typeface="Ericsson Hilda Light" panose="00000400000000000000" pitchFamily="2" charset="0"/>
              <a:cs typeface="+mn-cs"/>
            </a:endParaRPr>
          </a:p>
        </p:txBody>
      </p:sp>
      <p:sp>
        <p:nvSpPr>
          <p:cNvPr id="4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8353425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765A3682-3283-4350-B37F-DCABDCB15F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87410" y="476250"/>
            <a:ext cx="261523" cy="261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194912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54D93672-2A04-4EF3-916F-2C920729FB07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2000" rIns="72000"/>
          <a:lstStyle/>
          <a:p>
            <a:pPr>
              <a:spcBef>
                <a:spcPct val="50000"/>
              </a:spcBef>
              <a:defRPr/>
            </a:pPr>
            <a:endParaRPr lang="en-US" dirty="0">
              <a:latin typeface="Ericsson Hilda Light" panose="00000400000000000000" pitchFamily="2" charset="0"/>
              <a:cs typeface="+mn-cs"/>
            </a:endParaRPr>
          </a:p>
        </p:txBody>
      </p:sp>
      <p:sp>
        <p:nvSpPr>
          <p:cNvPr id="4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8353425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6B1A279A-6DFF-44E2-AFD5-C14BD71050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87410" y="476250"/>
            <a:ext cx="261523" cy="261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85295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54D93672-2A04-4EF3-916F-2C920729FB07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2000" rIns="72000"/>
          <a:lstStyle/>
          <a:p>
            <a:pPr>
              <a:spcBef>
                <a:spcPct val="50000"/>
              </a:spcBef>
              <a:defRPr/>
            </a:pPr>
            <a:endParaRPr lang="en-US" dirty="0">
              <a:latin typeface="Ericsson Hilda Light" panose="00000400000000000000" pitchFamily="2" charset="0"/>
              <a:cs typeface="+mn-cs"/>
            </a:endParaRPr>
          </a:p>
        </p:txBody>
      </p:sp>
      <p:sp>
        <p:nvSpPr>
          <p:cNvPr id="4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8353425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DC9C0052-7A7B-40FB-AF90-CA9C4B79D2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87410" y="476250"/>
            <a:ext cx="261523" cy="261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374926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 heav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54D93672-2A04-4EF3-916F-2C920729FB07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2000" rIns="72000"/>
          <a:lstStyle/>
          <a:p>
            <a:pPr>
              <a:spcBef>
                <a:spcPct val="50000"/>
              </a:spcBef>
              <a:defRPr/>
            </a:pPr>
            <a:endParaRPr lang="en-US" dirty="0">
              <a:latin typeface="Ericsson Hilda Light" panose="00000400000000000000" pitchFamily="2" charset="0"/>
              <a:cs typeface="+mn-cs"/>
            </a:endParaRPr>
          </a:p>
        </p:txBody>
      </p:sp>
      <p:sp>
        <p:nvSpPr>
          <p:cNvPr id="4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8353425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7D510456-FEBC-46FA-B25A-B809F2C18A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87410" y="476250"/>
            <a:ext cx="261523" cy="261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70639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note Cover Page w. Dark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368127A-B068-4F16-BC03-AF06DDDB17A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                                                                      Click icon to add a dark image</a:t>
            </a:r>
          </a:p>
        </p:txBody>
      </p:sp>
      <p:sp>
        <p:nvSpPr>
          <p:cNvPr id="9" name="Title_TM">
            <a:extLst>
              <a:ext uri="{FF2B5EF4-FFF2-40B4-BE49-F238E27FC236}">
                <a16:creationId xmlns:a16="http://schemas.microsoft.com/office/drawing/2014/main" id="{696C7C8F-5086-466A-8108-2FE0A8663D59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5" y="476250"/>
            <a:ext cx="8353426" cy="2288721"/>
          </a:xfrm>
          <a:noFill/>
          <a:ln w="9525">
            <a:noFill/>
            <a:miter lim="800000"/>
            <a:headEnd/>
            <a:tailEnd/>
          </a:ln>
        </p:spPr>
        <p:txBody>
          <a:bodyPr anchor="t"/>
          <a:lstStyle>
            <a:lvl1pPr>
              <a:defRPr lang="en-US" sz="60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Keynote cover cage, </a:t>
            </a:r>
            <a:br>
              <a:rPr lang="en-US" dirty="0"/>
            </a:br>
            <a:r>
              <a:rPr lang="en-US" dirty="0"/>
              <a:t>Ericsson Hilda Light 60pt, </a:t>
            </a:r>
            <a:br>
              <a:rPr lang="en-US" dirty="0"/>
            </a:br>
            <a:r>
              <a:rPr lang="en-US" dirty="0"/>
              <a:t>Ericsson White, </a:t>
            </a:r>
            <a:br>
              <a:rPr lang="en-US" dirty="0"/>
            </a:br>
            <a:r>
              <a:rPr lang="en-US" dirty="0"/>
              <a:t>max 4-lines</a:t>
            </a:r>
          </a:p>
        </p:txBody>
      </p:sp>
      <p:sp>
        <p:nvSpPr>
          <p:cNvPr id="10" name="SubTitle_TM">
            <a:extLst>
              <a:ext uri="{FF2B5EF4-FFF2-40B4-BE49-F238E27FC236}">
                <a16:creationId xmlns:a16="http://schemas.microsoft.com/office/drawing/2014/main" id="{ED5DEA0B-CF0D-4EE6-B6A8-90BAF3DE8AF1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4" y="4149725"/>
            <a:ext cx="5472113" cy="2087563"/>
          </a:xfrm>
          <a:prstGeom prst="rect">
            <a:avLst/>
          </a:prstGeom>
        </p:spPr>
        <p:txBody>
          <a:bodyPr r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Speaker,</a:t>
            </a:r>
            <a:br>
              <a:rPr lang="en-US" dirty="0"/>
            </a:br>
            <a:r>
              <a:rPr lang="en-US" dirty="0"/>
              <a:t>Ericsson Black, Ericsson Hilda 20pt</a:t>
            </a:r>
          </a:p>
        </p:txBody>
      </p:sp>
      <p:pic>
        <p:nvPicPr>
          <p:cNvPr id="6" name="Picture 11">
            <a:extLst>
              <a:ext uri="{FF2B5EF4-FFF2-40B4-BE49-F238E27FC236}">
                <a16:creationId xmlns:a16="http://schemas.microsoft.com/office/drawing/2014/main" id="{62EA197D-ECA7-4E2F-AB03-2BA31AB9DEF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22391" y="476250"/>
            <a:ext cx="190184" cy="256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64663325"/>
      </p:ext>
    </p:extLst>
  </p:cSld>
  <p:clrMapOvr>
    <a:masterClrMapping/>
  </p:clrMapOvr>
  <p:hf sldNum="0" hdr="0" ftr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0CFEFC-6AC8-4817-A0D3-6029D48BD29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9425" y="1844675"/>
            <a:ext cx="11233150" cy="4392612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92731162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1 smaller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84F54AF-EED6-486A-9ACA-42061F4AAE9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79425" y="1844675"/>
            <a:ext cx="8353426" cy="4392612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6" name="Title_SM">
            <a:extLst>
              <a:ext uri="{FF2B5EF4-FFF2-40B4-BE49-F238E27FC236}">
                <a16:creationId xmlns:a16="http://schemas.microsoft.com/office/drawing/2014/main" id="{3F4EF873-DC0F-4698-BEC2-502DB043AA5C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</p:spTree>
    <p:extLst>
      <p:ext uri="{BB962C8B-B14F-4D97-AF65-F5344CB8AC3E}">
        <p14:creationId xmlns:p14="http://schemas.microsoft.com/office/powerpoint/2010/main" val="959625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title, 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479425" y="1844675"/>
            <a:ext cx="5472113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itle_SM">
            <a:extLst>
              <a:ext uri="{FF2B5EF4-FFF2-40B4-BE49-F238E27FC236}">
                <a16:creationId xmlns:a16="http://schemas.microsoft.com/office/drawing/2014/main" id="{AC5B9436-E3EB-4A3D-BE6B-EFFF8123DE9D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</p:spTree>
    <p:extLst>
      <p:ext uri="{BB962C8B-B14F-4D97-AF65-F5344CB8AC3E}">
        <p14:creationId xmlns:p14="http://schemas.microsoft.com/office/powerpoint/2010/main" val="222406903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mall title, 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479425" y="1844675"/>
            <a:ext cx="5472113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5472113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. Hilda Light 40pt, </a:t>
            </a:r>
            <a:r>
              <a:rPr lang="en-US" dirty="0" err="1"/>
              <a:t>Eri</a:t>
            </a:r>
            <a:r>
              <a:rPr lang="en-US" dirty="0"/>
              <a:t>. Black, max 2-lines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F5F844D-0CF3-4814-B0DE-3D27A83936F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/>
            </a:lvl1pPr>
          </a:lstStyle>
          <a:p>
            <a:r>
              <a:rPr lang="en-US" dirty="0"/>
              <a:t>     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79170421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title, lef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6240463" y="1844675"/>
            <a:ext cx="5472112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itle_SM">
            <a:extLst>
              <a:ext uri="{FF2B5EF4-FFF2-40B4-BE49-F238E27FC236}">
                <a16:creationId xmlns:a16="http://schemas.microsoft.com/office/drawing/2014/main" id="{4ACB62A1-CC4A-4B59-B1D8-ED86B77D9A3A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</p:spTree>
    <p:extLst>
      <p:ext uri="{BB962C8B-B14F-4D97-AF65-F5344CB8AC3E}">
        <p14:creationId xmlns:p14="http://schemas.microsoft.com/office/powerpoint/2010/main" val="36350558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mall title, lef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6240463" y="1844675"/>
            <a:ext cx="5472112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6240463" y="476250"/>
            <a:ext cx="4924362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max 2-lines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0349585-9F54-46CC-8CEC-052CD1853EC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/>
            </a:lvl1pPr>
          </a:lstStyle>
          <a:p>
            <a:r>
              <a:rPr lang="en-US" dirty="0"/>
              <a:t>      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88229632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3"/>
          <p:cNvSpPr>
            <a:spLocks noGrp="1"/>
          </p:cNvSpPr>
          <p:nvPr>
            <p:ph sz="quarter" idx="3" hasCustomPrompt="1"/>
          </p:nvPr>
        </p:nvSpPr>
        <p:spPr>
          <a:xfrm>
            <a:off x="6240463" y="1844674"/>
            <a:ext cx="5472112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479425" y="1844675"/>
            <a:ext cx="5472113" cy="4392612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_SM">
            <a:extLst>
              <a:ext uri="{FF2B5EF4-FFF2-40B4-BE49-F238E27FC236}">
                <a16:creationId xmlns:a16="http://schemas.microsoft.com/office/drawing/2014/main" id="{891BF4C4-9DF9-4D9F-A738-37FBCD45AA68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</p:spTree>
    <p:extLst>
      <p:ext uri="{BB962C8B-B14F-4D97-AF65-F5344CB8AC3E}">
        <p14:creationId xmlns:p14="http://schemas.microsoft.com/office/powerpoint/2010/main" val="232875187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2 narrow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quarter" idx="12" hasCustomPrompt="1"/>
          </p:nvPr>
        </p:nvSpPr>
        <p:spPr>
          <a:xfrm>
            <a:off x="9120188" y="1844674"/>
            <a:ext cx="2592387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1" hasCustomPrompt="1"/>
          </p:nvPr>
        </p:nvSpPr>
        <p:spPr>
          <a:xfrm>
            <a:off x="6240463" y="1844674"/>
            <a:ext cx="2592388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Title_SM">
            <a:extLst>
              <a:ext uri="{FF2B5EF4-FFF2-40B4-BE49-F238E27FC236}">
                <a16:creationId xmlns:a16="http://schemas.microsoft.com/office/drawing/2014/main" id="{B1CFD82C-8968-4B87-A964-6288AF293D77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</p:spTree>
    <p:extLst>
      <p:ext uri="{BB962C8B-B14F-4D97-AF65-F5344CB8AC3E}">
        <p14:creationId xmlns:p14="http://schemas.microsoft.com/office/powerpoint/2010/main" val="244261772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, right image with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479424" y="1844675"/>
            <a:ext cx="5472113" cy="2089150"/>
          </a:xfrm>
          <a:prstGeom prst="rect">
            <a:avLst/>
          </a:prstGeom>
        </p:spPr>
        <p:txBody>
          <a:bodyPr lIns="72000" tIns="36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idx="1" hasCustomPrompt="1"/>
          </p:nvPr>
        </p:nvSpPr>
        <p:spPr>
          <a:xfrm>
            <a:off x="479425" y="4149724"/>
            <a:ext cx="5472113" cy="2087564"/>
          </a:xfrm>
          <a:prstGeom prst="rect">
            <a:avLst/>
          </a:prstGeom>
        </p:spPr>
        <p:txBody>
          <a:bodyPr lIns="72000" tIns="36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_SM">
            <a:extLst>
              <a:ext uri="{FF2B5EF4-FFF2-40B4-BE49-F238E27FC236}">
                <a16:creationId xmlns:a16="http://schemas.microsoft.com/office/drawing/2014/main" id="{A05AB2F5-3C8F-45BD-81CB-45EC98D4284C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</p:spTree>
    <p:extLst>
      <p:ext uri="{BB962C8B-B14F-4D97-AF65-F5344CB8AC3E}">
        <p14:creationId xmlns:p14="http://schemas.microsoft.com/office/powerpoint/2010/main" val="209629932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, left image with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6240463" y="1844674"/>
            <a:ext cx="5472112" cy="2089151"/>
          </a:xfrm>
          <a:prstGeom prst="rect">
            <a:avLst/>
          </a:prstGeom>
        </p:spPr>
        <p:txBody>
          <a:bodyPr lIns="72000" tIns="36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idx="1" hasCustomPrompt="1"/>
          </p:nvPr>
        </p:nvSpPr>
        <p:spPr>
          <a:xfrm>
            <a:off x="6240463" y="4149724"/>
            <a:ext cx="5472112" cy="2087564"/>
          </a:xfrm>
          <a:prstGeom prst="rect">
            <a:avLst/>
          </a:prstGeom>
        </p:spPr>
        <p:txBody>
          <a:bodyPr lIns="72000" tIns="36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_SM">
            <a:extLst>
              <a:ext uri="{FF2B5EF4-FFF2-40B4-BE49-F238E27FC236}">
                <a16:creationId xmlns:a16="http://schemas.microsoft.com/office/drawing/2014/main" id="{524C71C0-9908-4C8C-97CC-AA201198D25C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</p:spTree>
    <p:extLst>
      <p:ext uri="{BB962C8B-B14F-4D97-AF65-F5344CB8AC3E}">
        <p14:creationId xmlns:p14="http://schemas.microsoft.com/office/powerpoint/2010/main" val="15200144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2000" rIns="72000"/>
          <a:lstStyle/>
          <a:p>
            <a:pPr>
              <a:spcBef>
                <a:spcPct val="50000"/>
              </a:spcBef>
              <a:defRPr/>
            </a:pPr>
            <a:endParaRPr lang="en-US" dirty="0">
              <a:latin typeface="Ericsson Hilda Light" panose="00000400000000000000" pitchFamily="2" charset="0"/>
              <a:cs typeface="+mn-cs"/>
            </a:endParaRPr>
          </a:p>
        </p:txBody>
      </p:sp>
      <p:pic>
        <p:nvPicPr>
          <p:cNvPr id="9" name="Picture 11">
            <a:extLst>
              <a:ext uri="{FF2B5EF4-FFF2-40B4-BE49-F238E27FC236}">
                <a16:creationId xmlns:a16="http://schemas.microsoft.com/office/drawing/2014/main" id="{10DEA382-3777-4D1B-A88B-88F6F05CB2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22391" y="476250"/>
            <a:ext cx="190184" cy="256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le_TM">
            <a:extLst>
              <a:ext uri="{FF2B5EF4-FFF2-40B4-BE49-F238E27FC236}">
                <a16:creationId xmlns:a16="http://schemas.microsoft.com/office/drawing/2014/main" id="{48FE7FF9-3930-4C4A-8BC6-EB9A286812D4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4" y="476250"/>
            <a:ext cx="8353425" cy="3457575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 lang="en-US" sz="60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hapter/section divider or Statement/fact/quote, </a:t>
            </a:r>
            <a:br>
              <a:rPr lang="en-US" dirty="0"/>
            </a:br>
            <a:r>
              <a:rPr lang="en-US" dirty="0"/>
              <a:t>Ericsson Hilda Light 60pt, </a:t>
            </a:r>
            <a:br>
              <a:rPr lang="en-US" dirty="0"/>
            </a:br>
            <a:r>
              <a:rPr lang="en-US" dirty="0"/>
              <a:t>Ericsson White, </a:t>
            </a:r>
            <a:br>
              <a:rPr lang="en-US" dirty="0"/>
            </a:br>
            <a:r>
              <a:rPr lang="en-US" dirty="0"/>
              <a:t>max 5-lines</a:t>
            </a:r>
          </a:p>
        </p:txBody>
      </p:sp>
      <p:sp>
        <p:nvSpPr>
          <p:cNvPr id="12" name="SubTitle_TM">
            <a:extLst>
              <a:ext uri="{FF2B5EF4-FFF2-40B4-BE49-F238E27FC236}">
                <a16:creationId xmlns:a16="http://schemas.microsoft.com/office/drawing/2014/main" id="{A60848B0-180A-4C02-A8B3-E172AF538B61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5" y="4149725"/>
            <a:ext cx="5472113" cy="2087563"/>
          </a:xfrm>
          <a:prstGeom prst="rect">
            <a:avLst/>
          </a:prstGeom>
        </p:spPr>
        <p:txBody>
          <a:bodyPr r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Statement/quote source, </a:t>
            </a:r>
          </a:p>
          <a:p>
            <a:r>
              <a:rPr lang="en-US" dirty="0"/>
              <a:t>Ericsson White, Ericsson Hilda 20pt</a:t>
            </a:r>
          </a:p>
        </p:txBody>
      </p:sp>
    </p:spTree>
    <p:extLst>
      <p:ext uri="{BB962C8B-B14F-4D97-AF65-F5344CB8AC3E}">
        <p14:creationId xmlns:p14="http://schemas.microsoft.com/office/powerpoint/2010/main" val="2108219646"/>
      </p:ext>
    </p:extLst>
  </p:cSld>
  <p:clrMapOvr>
    <a:masterClrMapping/>
  </p:clrMapOvr>
  <p:hf sldNum="0" hdr="0" ftr="0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, two horizontal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sz="quarter" idx="11" hasCustomPrompt="1"/>
          </p:nvPr>
        </p:nvSpPr>
        <p:spPr>
          <a:xfrm>
            <a:off x="3359150" y="4149724"/>
            <a:ext cx="8353425" cy="2087564"/>
          </a:xfrm>
          <a:prstGeom prst="rect">
            <a:avLst/>
          </a:prstGeom>
        </p:spPr>
        <p:txBody>
          <a:bodyPr lIns="72000" tIns="36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3359150" y="1844675"/>
            <a:ext cx="8353425" cy="2089150"/>
          </a:xfrm>
          <a:prstGeom prst="rect">
            <a:avLst/>
          </a:prstGeom>
        </p:spPr>
        <p:txBody>
          <a:bodyPr lIns="72000" tIns="36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_SM">
            <a:extLst>
              <a:ext uri="{FF2B5EF4-FFF2-40B4-BE49-F238E27FC236}">
                <a16:creationId xmlns:a16="http://schemas.microsoft.com/office/drawing/2014/main" id="{0114795F-6AFF-421E-BA39-763FAD29FC16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</p:spTree>
    <p:extLst>
      <p:ext uri="{BB962C8B-B14F-4D97-AF65-F5344CB8AC3E}">
        <p14:creationId xmlns:p14="http://schemas.microsoft.com/office/powerpoint/2010/main" val="297116557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, Image over two content p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3"/>
          <p:cNvSpPr>
            <a:spLocks noGrp="1"/>
          </p:cNvSpPr>
          <p:nvPr>
            <p:ph sz="quarter" idx="11" hasCustomPrompt="1"/>
          </p:nvPr>
        </p:nvSpPr>
        <p:spPr>
          <a:xfrm>
            <a:off x="6240463" y="4149724"/>
            <a:ext cx="5472112" cy="2087564"/>
          </a:xfrm>
          <a:prstGeom prst="rect">
            <a:avLst/>
          </a:prstGeom>
        </p:spPr>
        <p:txBody>
          <a:bodyPr lIns="72000" tIns="36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quarter" idx="12" hasCustomPrompt="1"/>
          </p:nvPr>
        </p:nvSpPr>
        <p:spPr>
          <a:xfrm>
            <a:off x="479425" y="4149724"/>
            <a:ext cx="5472113" cy="2087563"/>
          </a:xfrm>
          <a:prstGeom prst="rect">
            <a:avLst/>
          </a:prstGeom>
        </p:spPr>
        <p:txBody>
          <a:bodyPr lIns="72000" tIns="36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_SM">
            <a:extLst>
              <a:ext uri="{FF2B5EF4-FFF2-40B4-BE49-F238E27FC236}">
                <a16:creationId xmlns:a16="http://schemas.microsoft.com/office/drawing/2014/main" id="{A14F6E09-C956-49B3-8E41-DBD053DF768C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</p:spTree>
    <p:extLst>
      <p:ext uri="{BB962C8B-B14F-4D97-AF65-F5344CB8AC3E}">
        <p14:creationId xmlns:p14="http://schemas.microsoft.com/office/powerpoint/2010/main" val="428243702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quarter" idx="12" hasCustomPrompt="1"/>
          </p:nvPr>
        </p:nvSpPr>
        <p:spPr>
          <a:xfrm>
            <a:off x="8184575" y="1844675"/>
            <a:ext cx="3528000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1" hasCustomPrompt="1"/>
          </p:nvPr>
        </p:nvSpPr>
        <p:spPr>
          <a:xfrm>
            <a:off x="4332000" y="1844673"/>
            <a:ext cx="3528000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8E3794F8-471D-4987-945F-3C29BB03AB4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79425" y="1844674"/>
            <a:ext cx="3528000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Title_SM">
            <a:extLst>
              <a:ext uri="{FF2B5EF4-FFF2-40B4-BE49-F238E27FC236}">
                <a16:creationId xmlns:a16="http://schemas.microsoft.com/office/drawing/2014/main" id="{6B686A21-AA96-4B0A-B7CE-F4C6D5D31B32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</p:spTree>
    <p:extLst>
      <p:ext uri="{BB962C8B-B14F-4D97-AF65-F5344CB8AC3E}">
        <p14:creationId xmlns:p14="http://schemas.microsoft.com/office/powerpoint/2010/main" val="198141263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3 narrow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quarter" idx="12" hasCustomPrompt="1"/>
          </p:nvPr>
        </p:nvSpPr>
        <p:spPr>
          <a:xfrm>
            <a:off x="9121776" y="1844674"/>
            <a:ext cx="2590799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1" hasCustomPrompt="1"/>
          </p:nvPr>
        </p:nvSpPr>
        <p:spPr>
          <a:xfrm>
            <a:off x="6240464" y="1844674"/>
            <a:ext cx="2592386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3359149" y="1844674"/>
            <a:ext cx="2592389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Title_SM">
            <a:extLst>
              <a:ext uri="{FF2B5EF4-FFF2-40B4-BE49-F238E27FC236}">
                <a16:creationId xmlns:a16="http://schemas.microsoft.com/office/drawing/2014/main" id="{7EEF5633-BC13-4AEA-AEF5-CE2675504D30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</p:spTree>
    <p:extLst>
      <p:ext uri="{BB962C8B-B14F-4D97-AF65-F5344CB8AC3E}">
        <p14:creationId xmlns:p14="http://schemas.microsoft.com/office/powerpoint/2010/main" val="297076902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quarter" idx="12" hasCustomPrompt="1"/>
          </p:nvPr>
        </p:nvSpPr>
        <p:spPr>
          <a:xfrm>
            <a:off x="6240463" y="1844674"/>
            <a:ext cx="2592388" cy="4392614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1" hasCustomPrompt="1"/>
          </p:nvPr>
        </p:nvSpPr>
        <p:spPr>
          <a:xfrm>
            <a:off x="3359149" y="1844674"/>
            <a:ext cx="2592389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479425" y="1844674"/>
            <a:ext cx="2592388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9120188" y="1844674"/>
            <a:ext cx="2592387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Title_SM">
            <a:extLst>
              <a:ext uri="{FF2B5EF4-FFF2-40B4-BE49-F238E27FC236}">
                <a16:creationId xmlns:a16="http://schemas.microsoft.com/office/drawing/2014/main" id="{F4D71A67-F349-4E68-B7B8-D53CE323A764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</p:spTree>
    <p:extLst>
      <p:ext uri="{BB962C8B-B14F-4D97-AF65-F5344CB8AC3E}">
        <p14:creationId xmlns:p14="http://schemas.microsoft.com/office/powerpoint/2010/main" val="294483571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Preambl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quarter" idx="12" hasCustomPrompt="1"/>
          </p:nvPr>
        </p:nvSpPr>
        <p:spPr>
          <a:xfrm>
            <a:off x="6240463" y="4149724"/>
            <a:ext cx="2592388" cy="2087563"/>
          </a:xfrm>
          <a:prstGeom prst="rect">
            <a:avLst/>
          </a:prstGeom>
        </p:spPr>
        <p:txBody>
          <a:bodyPr tIns="3600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For heading, use Ericsson Hilda in bold. For copy and bullets, use E.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1" hasCustomPrompt="1"/>
          </p:nvPr>
        </p:nvSpPr>
        <p:spPr>
          <a:xfrm>
            <a:off x="3359150" y="4149725"/>
            <a:ext cx="2592388" cy="2087562"/>
          </a:xfrm>
          <a:prstGeom prst="rect">
            <a:avLst/>
          </a:prstGeom>
        </p:spPr>
        <p:txBody>
          <a:bodyPr tIns="3600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For heading, use Ericsson Hilda in bold. For copy and bullets, use E.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479425" y="1844675"/>
            <a:ext cx="2592388" cy="4392612"/>
          </a:xfrm>
          <a:prstGeom prst="rect">
            <a:avLst/>
          </a:prstGeom>
        </p:spPr>
        <p:txBody>
          <a:bodyPr/>
          <a:lstStyle>
            <a:lvl1pPr marL="0" indent="0">
              <a:buFont typeface="Ericsson Hilda Light" panose="020B0604020202020204" pitchFamily="34" charset="0"/>
              <a:buNone/>
              <a:defRPr sz="2500">
                <a:latin typeface="+mn-lt"/>
              </a:defRPr>
            </a:lvl1pPr>
            <a:lvl2pPr marL="0" indent="0">
              <a:buFont typeface="Ericsson Hilda Light" panose="020B0604020202020204" pitchFamily="34" charset="0"/>
              <a:buNone/>
              <a:defRPr sz="2500">
                <a:latin typeface="+mj-lt"/>
              </a:defRPr>
            </a:lvl2pPr>
            <a:lvl3pPr marL="342900" indent="0">
              <a:buFont typeface="Ericsson Hilda Light" panose="020B0604020202020204" pitchFamily="34" charset="0"/>
              <a:buNone/>
              <a:defRPr sz="2500">
                <a:latin typeface="+mj-lt"/>
              </a:defRPr>
            </a:lvl3pPr>
            <a:lvl4pPr marL="685800" indent="0">
              <a:buFont typeface="Ericsson Hilda Light" panose="020B0604020202020204" pitchFamily="34" charset="0"/>
              <a:buNone/>
              <a:defRPr sz="2500">
                <a:latin typeface="+mj-lt"/>
              </a:defRPr>
            </a:lvl4pPr>
            <a:lvl5pPr marL="1028700" indent="0">
              <a:buFont typeface="Ericsson Hilda Light" panose="020B0604020202020204" pitchFamily="34" charset="0"/>
              <a:buNone/>
              <a:defRPr sz="2500">
                <a:latin typeface="+mj-lt"/>
              </a:defRPr>
            </a:lvl5pPr>
          </a:lstStyle>
          <a:p>
            <a:pPr lvl="0"/>
            <a:r>
              <a:rPr kumimoji="0" lang="en-US" sz="2500" b="0" i="0" u="none" strike="noStrike" kern="1200" cap="none" spc="0" normalizeH="0" baseline="0" noProof="0" dirty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ea typeface="+mn-ea"/>
                <a:cs typeface="Ericsson Hilda Light" panose="020B0604020202020204" pitchFamily="34" charset="0"/>
              </a:rPr>
              <a:t>Preamble text, </a:t>
            </a:r>
            <a:r>
              <a:rPr lang="en-US" dirty="0"/>
              <a:t>Ericsson </a:t>
            </a:r>
            <a:r>
              <a:rPr kumimoji="0" lang="en-US" sz="2500" b="0" i="0" u="none" strike="noStrike" kern="1200" cap="none" spc="0" normalizeH="0" baseline="0" noProof="0" dirty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ea typeface="+mn-ea"/>
                <a:cs typeface="Ericsson Hilda Light" panose="020B0604020202020204" pitchFamily="34" charset="0"/>
              </a:rPr>
              <a:t>Hilda 25pt, Ericsson Black</a:t>
            </a:r>
            <a:endParaRPr lang="en-US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9120188" y="4149724"/>
            <a:ext cx="2592387" cy="2087563"/>
          </a:xfrm>
          <a:prstGeom prst="rect">
            <a:avLst/>
          </a:prstGeom>
        </p:spPr>
        <p:txBody>
          <a:bodyPr tIns="3600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For heading, use Ericsson Hilda in bold. For copy and bullets, use E.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Title_SM">
            <a:extLst>
              <a:ext uri="{FF2B5EF4-FFF2-40B4-BE49-F238E27FC236}">
                <a16:creationId xmlns:a16="http://schemas.microsoft.com/office/drawing/2014/main" id="{CD0BB64A-768A-4118-B3E5-52B98C693831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</p:spTree>
    <p:extLst>
      <p:ext uri="{BB962C8B-B14F-4D97-AF65-F5344CB8AC3E}">
        <p14:creationId xmlns:p14="http://schemas.microsoft.com/office/powerpoint/2010/main" val="284847248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4 columns with visu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quarter" idx="12" hasCustomPrompt="1"/>
          </p:nvPr>
        </p:nvSpPr>
        <p:spPr>
          <a:xfrm>
            <a:off x="6240463" y="4149724"/>
            <a:ext cx="2592388" cy="2087563"/>
          </a:xfrm>
          <a:prstGeom prst="rect">
            <a:avLst/>
          </a:prstGeom>
        </p:spPr>
        <p:txBody>
          <a:bodyPr lIns="72000" tIns="3600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For heading, use Ericsson Hilda in bold. For copy and bullets, use E.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1" hasCustomPrompt="1"/>
          </p:nvPr>
        </p:nvSpPr>
        <p:spPr>
          <a:xfrm>
            <a:off x="3359149" y="4149724"/>
            <a:ext cx="2592389" cy="2087563"/>
          </a:xfrm>
          <a:prstGeom prst="rect">
            <a:avLst/>
          </a:prstGeom>
        </p:spPr>
        <p:txBody>
          <a:bodyPr lIns="72000" tIns="3600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For heading, use Ericsson Hilda in bold. For copy and bullets, use E.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479425" y="4149724"/>
            <a:ext cx="2592388" cy="2087563"/>
          </a:xfrm>
          <a:prstGeom prst="rect">
            <a:avLst/>
          </a:prstGeom>
        </p:spPr>
        <p:txBody>
          <a:bodyPr lIns="72000" tIns="3600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For heading, use Ericsson Hilda in bold. For copy and bullets, use E.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9121776" y="4149724"/>
            <a:ext cx="2590799" cy="2087563"/>
          </a:xfrm>
          <a:prstGeom prst="rect">
            <a:avLst/>
          </a:prstGeom>
        </p:spPr>
        <p:txBody>
          <a:bodyPr lIns="72000" tIns="3600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For heading, use Ericsson Hilda in bold. For copy and bullets, use E.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Title_SM">
            <a:extLst>
              <a:ext uri="{FF2B5EF4-FFF2-40B4-BE49-F238E27FC236}">
                <a16:creationId xmlns:a16="http://schemas.microsoft.com/office/drawing/2014/main" id="{F83268EB-5955-4A3F-8B85-E7C084E6FAF5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</p:spTree>
    <p:extLst>
      <p:ext uri="{BB962C8B-B14F-4D97-AF65-F5344CB8AC3E}">
        <p14:creationId xmlns:p14="http://schemas.microsoft.com/office/powerpoint/2010/main" val="172439287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4"/>
          <p:cNvSpPr>
            <a:spLocks noGrp="1"/>
          </p:cNvSpPr>
          <p:nvPr>
            <p:ph sz="quarter" idx="4" hasCustomPrompt="1"/>
          </p:nvPr>
        </p:nvSpPr>
        <p:spPr>
          <a:xfrm>
            <a:off x="6240462" y="4149724"/>
            <a:ext cx="5472113" cy="2087564"/>
          </a:xfrm>
          <a:prstGeom prst="rect">
            <a:avLst/>
          </a:prstGeom>
        </p:spPr>
        <p:txBody>
          <a:bodyPr lIns="72000" tIns="36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2" hasCustomPrompt="1"/>
          </p:nvPr>
        </p:nvSpPr>
        <p:spPr>
          <a:xfrm>
            <a:off x="6240462" y="1844674"/>
            <a:ext cx="5472113" cy="2089151"/>
          </a:xfrm>
          <a:prstGeom prst="rect">
            <a:avLst/>
          </a:prstGeom>
        </p:spPr>
        <p:txBody>
          <a:bodyPr lIns="72000" tIns="36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quarter" idx="1" hasCustomPrompt="1"/>
          </p:nvPr>
        </p:nvSpPr>
        <p:spPr>
          <a:xfrm>
            <a:off x="479425" y="1844674"/>
            <a:ext cx="5472113" cy="2089151"/>
          </a:xfrm>
          <a:prstGeom prst="rect">
            <a:avLst/>
          </a:prstGeom>
        </p:spPr>
        <p:txBody>
          <a:bodyPr lIns="72000" tIns="36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5BD2C41D-0700-4885-AB77-25AFFE4E1FDA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9425" y="4149725"/>
            <a:ext cx="5472113" cy="2089151"/>
          </a:xfrm>
          <a:prstGeom prst="rect">
            <a:avLst/>
          </a:prstGeom>
        </p:spPr>
        <p:txBody>
          <a:bodyPr lIns="72000" tIns="36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itle_SM">
            <a:extLst>
              <a:ext uri="{FF2B5EF4-FFF2-40B4-BE49-F238E27FC236}">
                <a16:creationId xmlns:a16="http://schemas.microsoft.com/office/drawing/2014/main" id="{2C948968-FB06-45CC-8259-6BDE4430EACB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</p:spTree>
    <p:extLst>
      <p:ext uri="{BB962C8B-B14F-4D97-AF65-F5344CB8AC3E}">
        <p14:creationId xmlns:p14="http://schemas.microsoft.com/office/powerpoint/2010/main" val="116252934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8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4"/>
          <p:cNvSpPr>
            <a:spLocks noGrp="1"/>
          </p:cNvSpPr>
          <p:nvPr>
            <p:ph sz="quarter" idx="4" hasCustomPrompt="1"/>
          </p:nvPr>
        </p:nvSpPr>
        <p:spPr>
          <a:xfrm>
            <a:off x="6240463" y="4150995"/>
            <a:ext cx="2592387" cy="2086292"/>
          </a:xfrm>
          <a:prstGeom prst="rect">
            <a:avLst/>
          </a:prstGeom>
        </p:spPr>
        <p:txBody>
          <a:bodyPr lIns="72000" tIns="3600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/>
              <a:t>For heading, use Ericsson Hilda in bold. For copy and bullets, use E.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quarter" idx="3" hasCustomPrompt="1"/>
          </p:nvPr>
        </p:nvSpPr>
        <p:spPr>
          <a:xfrm>
            <a:off x="479424" y="4149724"/>
            <a:ext cx="2592389" cy="2087563"/>
          </a:xfrm>
          <a:prstGeom prst="rect">
            <a:avLst/>
          </a:prstGeom>
        </p:spPr>
        <p:txBody>
          <a:bodyPr lIns="72000" tIns="3600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For heading, use Ericsson Hilda in bold. For copy and bullets, use E.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2" hasCustomPrompt="1"/>
          </p:nvPr>
        </p:nvSpPr>
        <p:spPr>
          <a:xfrm>
            <a:off x="6240463" y="1844675"/>
            <a:ext cx="2592387" cy="2089150"/>
          </a:xfrm>
          <a:prstGeom prst="rect">
            <a:avLst/>
          </a:prstGeom>
        </p:spPr>
        <p:txBody>
          <a:bodyPr lIns="72000" tIns="3600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For heading, use Ericsson Hilda in bold. For copy and bullets, use E.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3"/>
            <a:endParaRPr lang="en-US" dirty="0"/>
          </a:p>
        </p:txBody>
      </p:sp>
      <p:sp>
        <p:nvSpPr>
          <p:cNvPr id="3" name="Content Placeholder 1"/>
          <p:cNvSpPr>
            <a:spLocks noGrp="1"/>
          </p:cNvSpPr>
          <p:nvPr>
            <p:ph sz="quarter" idx="1" hasCustomPrompt="1"/>
          </p:nvPr>
        </p:nvSpPr>
        <p:spPr>
          <a:xfrm>
            <a:off x="479424" y="1844675"/>
            <a:ext cx="2592389" cy="2089150"/>
          </a:xfrm>
          <a:prstGeom prst="rect">
            <a:avLst/>
          </a:prstGeom>
        </p:spPr>
        <p:txBody>
          <a:bodyPr lIns="72000" tIns="3600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For heading, use Ericsson Hilda in bold. For copy and bullets, use E.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3359151" y="4149724"/>
            <a:ext cx="2592387" cy="2087563"/>
          </a:xfrm>
          <a:prstGeom prst="rect">
            <a:avLst/>
          </a:prstGeom>
        </p:spPr>
        <p:txBody>
          <a:bodyPr lIns="72000" tIns="3600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For heading, use Ericsson Hilda in bold. For copy and bullets, use E.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11" hasCustomPrompt="1"/>
          </p:nvPr>
        </p:nvSpPr>
        <p:spPr>
          <a:xfrm>
            <a:off x="3359151" y="1844675"/>
            <a:ext cx="2592388" cy="2089150"/>
          </a:xfrm>
          <a:prstGeom prst="rect">
            <a:avLst/>
          </a:prstGeom>
        </p:spPr>
        <p:txBody>
          <a:bodyPr lIns="72000" tIns="3600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For heading, use Ericsson Hilda in bold. For copy and bullets, use E.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9120188" y="4149725"/>
            <a:ext cx="2592387" cy="2087562"/>
          </a:xfrm>
          <a:prstGeom prst="rect">
            <a:avLst/>
          </a:prstGeom>
        </p:spPr>
        <p:txBody>
          <a:bodyPr lIns="72000" tIns="3600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For heading, use Ericsson Hilda in bold. For copy and bullets, use E.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9120188" y="1844674"/>
            <a:ext cx="2592387" cy="2089151"/>
          </a:xfrm>
          <a:prstGeom prst="rect">
            <a:avLst/>
          </a:prstGeom>
        </p:spPr>
        <p:txBody>
          <a:bodyPr lIns="72000" tIns="3600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For heading, use Ericsson Hilda in bold. For copy and bullets, use E.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3"/>
            <a:endParaRPr lang="en-US" dirty="0"/>
          </a:p>
        </p:txBody>
      </p:sp>
      <p:sp>
        <p:nvSpPr>
          <p:cNvPr id="13" name="Title_SM">
            <a:extLst>
              <a:ext uri="{FF2B5EF4-FFF2-40B4-BE49-F238E27FC236}">
                <a16:creationId xmlns:a16="http://schemas.microsoft.com/office/drawing/2014/main" id="{99858DC4-E787-41D2-A613-961D60F89117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</p:spTree>
    <p:extLst>
      <p:ext uri="{BB962C8B-B14F-4D97-AF65-F5344CB8AC3E}">
        <p14:creationId xmlns:p14="http://schemas.microsoft.com/office/powerpoint/2010/main" val="133299159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ck logo 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99AF35DD-3E5E-42CB-AFA5-5E09E14F72A4}"/>
              </a:ext>
            </a:extLst>
          </p:cNvPr>
          <p:cNvSpPr txBox="1"/>
          <p:nvPr userDrawn="1"/>
        </p:nvSpPr>
        <p:spPr bwMode="auto">
          <a:xfrm>
            <a:off x="479425" y="473190"/>
            <a:ext cx="11233149" cy="6068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Clr>
                <a:schemeClr val="tx1"/>
              </a:buClr>
              <a:buFont typeface="Ericsson Hilda Light" panose="00000400000000000000" pitchFamily="2" charset="0"/>
              <a:buNone/>
            </a:pPr>
            <a:r>
              <a:rPr lang="en-US" sz="1400" dirty="0">
                <a:solidFill>
                  <a:schemeClr val="bg1"/>
                </a:solidFill>
              </a:rPr>
              <a:t>Characters for Embedded characters:</a:t>
            </a:r>
          </a:p>
          <a:p>
            <a:pPr marL="0" indent="0">
              <a:buClr>
                <a:schemeClr val="tx1"/>
              </a:buClr>
              <a:buFont typeface="Ericsson Hilda Light" panose="00000400000000000000" pitchFamily="2" charset="0"/>
              <a:buNone/>
            </a:pPr>
            <a:r>
              <a:rPr lang="en-US" sz="1400" dirty="0">
                <a:solidFill>
                  <a:schemeClr val="bg1"/>
                </a:solidFill>
              </a:rPr>
              <a:t>!"#$%&amp;'()*+,./0123456789:;&lt;=&gt;?@ABCDEFGHIJKLMNOPQRSTUVWXYZ[\]^_`</a:t>
            </a:r>
            <a:r>
              <a:rPr lang="en-US" sz="1400" dirty="0" err="1">
                <a:solidFill>
                  <a:schemeClr val="bg1"/>
                </a:solidFill>
              </a:rPr>
              <a:t>abcdefghijklmnopqrstuvwxyz</a:t>
            </a:r>
            <a:r>
              <a:rPr lang="en-US" sz="1400" dirty="0">
                <a:solidFill>
                  <a:schemeClr val="bg1"/>
                </a:solidFill>
              </a:rPr>
              <a:t>{|}~¡¢£¤¥¦§¨©ª«¬®¯°±²³´¶·¸¹º»¼½ÀÁÂÃÄÅÆÇÈËÌÍÎÏÐÑÒÓÔÕÖ×ØÙÚÛÜÝÞßàáâãäåæçèéêëìíîïðñòóôõö÷øùúûüýþÿĀāĂăąĆćĊċČčĎďĐđĒĖėĘęĚěĞğĠġĢģĪīĮįİıĶķĹĺĻļĽľŁłŃńŅņŇňŌŐőŒœŔŕŖŗŘřŚśŞşŠšŢţŤťŪūŮůŰűŲųŴŵŶŷŸŹźŻżŽžƒȘșˆˇ˘˙˚˛˜˝</a:t>
            </a:r>
            <a:r>
              <a:rPr lang="en-US" sz="1400" dirty="0" err="1">
                <a:solidFill>
                  <a:schemeClr val="bg1"/>
                </a:solidFill>
              </a:rPr>
              <a:t>ẀẁẃẄẅỲỳ</a:t>
            </a:r>
            <a:r>
              <a:rPr lang="en-US" sz="1400" dirty="0">
                <a:solidFill>
                  <a:schemeClr val="bg1"/>
                </a:solidFill>
              </a:rPr>
              <a:t>‘’‚“”„†‡•…‰‹›⁄€™ĀĀĂĂĄĄĆĆĊĊČČĎĎĐĐĒĒĖĖĘĘĚĚĞĞĠĠĢĢĪĪĮĮİĶĶĹĹĻĻĽĽŃŃŅŅŇŇŌŌŐŐŔŔŖŖŘŘŚŚŞŞŢŢŤŤŪŪŮŮŰŰŲŲŴŴŶŶŹŹŻŻȘș−≤≥</a:t>
            </a:r>
            <a:r>
              <a:rPr lang="en-US" sz="1400" dirty="0" err="1">
                <a:solidFill>
                  <a:schemeClr val="bg1"/>
                </a:solidFill>
              </a:rPr>
              <a:t>ﬁﬂΆΈΉΊΌΎΏΐΑΒΓΕΖΗΘΙΚΛΜΝΞΟΠΡΣΤΥΦΧΨΪΫΆΈΉΊΰ</a:t>
            </a:r>
            <a:r>
              <a:rPr lang="en-US" sz="1400" dirty="0">
                <a:solidFill>
                  <a:schemeClr val="bg1"/>
                </a:solidFill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endParaRPr lang="en-US" sz="140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en-US" sz="1400" b="1" dirty="0">
                <a:solidFill>
                  <a:schemeClr val="bg1"/>
                </a:solidFill>
              </a:rPr>
              <a:t>!"#$%&amp;'()*+,./0123456789:;&lt;=&gt;?@ABCDEFGHIJKLMNOPQRSTUVWXYZ[\]^_`</a:t>
            </a:r>
            <a:r>
              <a:rPr lang="en-US" sz="1400" b="1" dirty="0" err="1">
                <a:solidFill>
                  <a:schemeClr val="bg1"/>
                </a:solidFill>
              </a:rPr>
              <a:t>abcdefghijklmnopqrstuvwxyz</a:t>
            </a:r>
            <a:r>
              <a:rPr lang="en-US" sz="1400" b="1" dirty="0">
                <a:solidFill>
                  <a:schemeClr val="bg1"/>
                </a:solidFill>
              </a:rPr>
              <a:t>{|}~¡¢£¤¥¦§¨©ª«¬®¯°±²³´¶·¸¹º»¼½ÀÁÂÃÄÅÆÇÈËÌÍÎÏÐÑÒÓÔÕÖ×ØÙÚÛÜÝÞßàáâãäåæçèéêëìíîïðñòóôõö÷øùúûüýþÿĀāĂăąĆćĊċČčĎďĐđĒĖėĘęĚěĞğĠġĢģĪīĮįİıĶķĹĺĻļĽľŁłŃńŅņŇňŌŐőŒœŔŕŖŗŘřŚśŞşŠšŢţŤťŪūŮůŰűŲųŴŵŶŷŸŹźŻżŽžƒȘșˆˇ˘˙˚˛˜˝</a:t>
            </a:r>
            <a:r>
              <a:rPr lang="en-US" sz="1400" b="1" dirty="0" err="1">
                <a:solidFill>
                  <a:schemeClr val="bg1"/>
                </a:solidFill>
              </a:rPr>
              <a:t>ẀẁẃẄẅỲỳ</a:t>
            </a:r>
            <a:r>
              <a:rPr lang="en-US" sz="1400" b="1" dirty="0">
                <a:solidFill>
                  <a:schemeClr val="bg1"/>
                </a:solidFill>
              </a:rPr>
              <a:t>‘’‚“”„†‡•…‰‹›⁄€™ĀĀĂĂĄĄĆĆĊĊČČĎĎĐĐĒĒĖĖĘĘĚĚĞĞĠĠĢĢĪĪĮĮİĶĶĹĹĻĻĽĽŃŃŅŅŇŇŌŌŐŐŔŔŖŖŘŘŚŚŞŞŢŢŤŤŪŪŮŮŰŰŲŲŴŴŶŶŹŹŻŻȘș−≤≥</a:t>
            </a:r>
            <a:r>
              <a:rPr lang="en-US" sz="1400" b="1" dirty="0" err="1">
                <a:solidFill>
                  <a:schemeClr val="bg1"/>
                </a:solidFill>
              </a:rPr>
              <a:t>ﬁﬂΆΈΉΊΌΎΏΐΑΒΓΕΖΗΘΙΚΛΜΝΞΟΠΡΣΤΥΦΧΨΪΫΆΈΉΊΰ</a:t>
            </a:r>
            <a:r>
              <a:rPr lang="en-US" sz="1400" b="1" dirty="0">
                <a:solidFill>
                  <a:schemeClr val="bg1"/>
                </a:solidFill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endParaRPr lang="en-US" sz="140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en-US" sz="1400" dirty="0">
                <a:solidFill>
                  <a:schemeClr val="bg1"/>
                </a:solidFill>
                <a:latin typeface="+mj-lt"/>
              </a:rPr>
              <a:t>!"#$%&amp;'()*+,./0123456789:;&lt;=&gt;?@ABCDEFGHIJKLMNOPQRSTUVWXYZ[\]^_`</a:t>
            </a:r>
            <a:r>
              <a:rPr lang="en-US" sz="1400" dirty="0" err="1">
                <a:solidFill>
                  <a:schemeClr val="bg1"/>
                </a:solidFill>
                <a:latin typeface="+mj-lt"/>
              </a:rPr>
              <a:t>abcdefghijklmnopqrstuvwxyz</a:t>
            </a:r>
            <a:r>
              <a:rPr lang="en-US" sz="1400" dirty="0">
                <a:solidFill>
                  <a:schemeClr val="bg1"/>
                </a:solidFill>
                <a:latin typeface="+mj-lt"/>
              </a:rPr>
              <a:t>{|}~¡¢£¤¥¦§¨©ª«¬®¯°±²³´¶·¸¹º»¼½ÀÁÂÃÄÅÆÇÈËÌÍÎÏÐÑÒÓÔÕÖ×ØÙÚÛÜÝÞßàáâãäåæçèéêëìíîïðñòóôõö÷øùúûüýþÿĀāĂăąĆćĊċ</a:t>
            </a:r>
            <a:r>
              <a:rPr lang="en-US" sz="14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Čč</a:t>
            </a:r>
            <a:r>
              <a:rPr lang="en-US" sz="1400" dirty="0">
                <a:solidFill>
                  <a:schemeClr val="bg1"/>
                </a:solidFill>
                <a:latin typeface="+mj-lt"/>
              </a:rPr>
              <a:t>ĎďĐđĒĖėĘęĚěĞğĠġĢģĪīĮįİıĶķĹĺĻļĽľŁłŃńŅņŇňŌŐőŒœŔŕŖŗŘřŚśŞşŠšŢţŤťŪūŮůŰűŲųŴŵŶŷŸŹźŻżŽžƒȘșˆˇ˘˙˚˛˜˝</a:t>
            </a:r>
            <a:r>
              <a:rPr lang="en-US" sz="1400" dirty="0" err="1">
                <a:solidFill>
                  <a:schemeClr val="bg1"/>
                </a:solidFill>
                <a:latin typeface="+mj-lt"/>
              </a:rPr>
              <a:t>ẀẁẃẄẅỲỳ</a:t>
            </a:r>
            <a:r>
              <a:rPr lang="en-US" sz="1400" dirty="0">
                <a:solidFill>
                  <a:schemeClr val="bg1"/>
                </a:solidFill>
                <a:latin typeface="+mj-lt"/>
              </a:rPr>
              <a:t>‘’‚“”„†‡•…‰‹›⁄€™ĀĀĂĂĄĄĆĆĊĊČČĎĎĐĐĒĒĖĖĘĘĚĚĞĞĠĠĢĢĪĪĮĮİĶĶĹĹĻĻĽĽŃŃŅŅŇŇŌŌŐŐŔŔŖŖŘŘŚŚŞŞŢŢŤŤŪŪŮŮŰŰŲŲŴŴŶŶŹŹŻŻȘș−≤≥</a:t>
            </a:r>
            <a:r>
              <a:rPr lang="en-US" sz="1400" dirty="0" err="1">
                <a:solidFill>
                  <a:schemeClr val="bg1"/>
                </a:solidFill>
                <a:latin typeface="+mj-lt"/>
              </a:rPr>
              <a:t>ﬁﬂΆΈΉΊΌΎΏΐΑΒΓΕΖΗΘΙΚΛΜΝΞΟΠΡΣΤΥΦΧΨΪΫΆΈΉΊΰ</a:t>
            </a:r>
            <a:r>
              <a:rPr lang="en-US" sz="1400" dirty="0">
                <a:solidFill>
                  <a:schemeClr val="bg1"/>
                </a:solidFill>
                <a:latin typeface="+mj-lt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endParaRPr lang="en-US" sz="140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en-US" sz="1400" b="1" dirty="0">
                <a:solidFill>
                  <a:schemeClr val="bg1"/>
                </a:solidFill>
                <a:latin typeface="+mj-lt"/>
              </a:rPr>
              <a:t>!"#$%&amp;'()*+,./0123456789:;&lt;=&gt;?@ABCDEFGHIJKLMNOPQRSTUVWXYZ[\]^_`</a:t>
            </a:r>
            <a:r>
              <a:rPr lang="en-US" sz="1400" b="1" dirty="0" err="1">
                <a:solidFill>
                  <a:schemeClr val="bg1"/>
                </a:solidFill>
                <a:latin typeface="+mj-lt"/>
              </a:rPr>
              <a:t>abcdefghijklmnopqrstuvwxyz</a:t>
            </a:r>
            <a:r>
              <a:rPr lang="en-US" sz="1400" b="1" dirty="0">
                <a:solidFill>
                  <a:schemeClr val="bg1"/>
                </a:solidFill>
                <a:latin typeface="+mj-lt"/>
              </a:rPr>
              <a:t>{|}~¡¢£¤¥¦§¨©ª«¬®¯°±²³´¶·¸¹º»¼½ÀÁÂÃÄÅÆÇÈËÌÍÎÏÐÑÒÓÔÕÖ×ØÙÚÛÜÝÞßàáâãäåæçèéêëìíîïðñòóôõö÷øùúûüýþÿĀāĂăąĆćĊċ</a:t>
            </a:r>
            <a:r>
              <a:rPr lang="en-US" sz="14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Čč</a:t>
            </a:r>
            <a:r>
              <a:rPr lang="en-US" sz="1400" b="1" dirty="0">
                <a:solidFill>
                  <a:schemeClr val="bg1"/>
                </a:solidFill>
                <a:latin typeface="+mj-lt"/>
              </a:rPr>
              <a:t>ĎďĐđĒĖėĘęĚěĞğĠġĢģĪīĮįİıĶķĹĺĻļĽľŁłŃńŅņŇňŌŐőŒœŔŕŖŗŘřŚśŞşŠšŢţŤťŪūŮůŰűŲųŴŵŶŷŸŹźŻżŽžƒȘșˆˇ˘˙˚˛˜˝</a:t>
            </a:r>
            <a:r>
              <a:rPr lang="en-US" sz="1400" b="1" dirty="0" err="1">
                <a:solidFill>
                  <a:schemeClr val="bg1"/>
                </a:solidFill>
                <a:latin typeface="+mj-lt"/>
              </a:rPr>
              <a:t>ẀẁẃẄẅỲỳ</a:t>
            </a:r>
            <a:r>
              <a:rPr lang="en-US" sz="1400" b="1" dirty="0">
                <a:solidFill>
                  <a:schemeClr val="bg1"/>
                </a:solidFill>
                <a:latin typeface="+mj-lt"/>
              </a:rPr>
              <a:t>‘’‚“”„†‡•…‰‹›⁄€™ĀĀĂĂĄĄĆĆĊĊČČĎĎĐĐĒĒĖĖĘĘĚĚĞĞĠĠĢĢĪĪĮĮİĶĶĹĹĻĻĽĽŃŃŅŅŇŇŌŌŐŐŔŔŖŖŘŘŚŚŞŞŢŢŤŤŪŪŮŮŰŰŲŲŴŴŶŶŹŹŻŻȘș−≤≥</a:t>
            </a:r>
            <a:r>
              <a:rPr lang="en-US" sz="1400" b="1" dirty="0" err="1">
                <a:solidFill>
                  <a:schemeClr val="bg1"/>
                </a:solidFill>
                <a:latin typeface="+mj-lt"/>
              </a:rPr>
              <a:t>ﬁﬂΆΈΉΊΌΎΏΐΑΒΓΕΖΗΘΙΚΛΜΝΞΟΠΡΣΤΥΦΧΨΪΫΆΈΉΊΰ</a:t>
            </a:r>
            <a:r>
              <a:rPr lang="en-US" sz="1400" b="1" dirty="0">
                <a:solidFill>
                  <a:schemeClr val="bg1"/>
                </a:solidFill>
                <a:latin typeface="+mj-lt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AEBC62E-40C0-43CF-98DC-55F7A1D1FD31}"/>
              </a:ext>
            </a:extLst>
          </p:cNvPr>
          <p:cNvSpPr/>
          <p:nvPr userDrawn="1"/>
        </p:nvSpPr>
        <p:spPr bwMode="auto">
          <a:xfrm>
            <a:off x="-1" y="0"/>
            <a:ext cx="12192000" cy="685800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9" name="SubTitle_TM">
            <a:extLst>
              <a:ext uri="{FF2B5EF4-FFF2-40B4-BE49-F238E27FC236}">
                <a16:creationId xmlns:a16="http://schemas.microsoft.com/office/drawing/2014/main" id="{B200748E-0B61-48E1-8B47-504C30250995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071813" y="4153259"/>
            <a:ext cx="6048375" cy="347472"/>
          </a:xfrm>
          <a:prstGeom prst="rect">
            <a:avLst/>
          </a:prstGeom>
        </p:spPr>
        <p:txBody>
          <a:bodyPr rIns="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ericsson.com/related-</a:t>
            </a:r>
            <a:r>
              <a:rPr lang="en-US" dirty="0" err="1"/>
              <a:t>url</a:t>
            </a:r>
            <a:endParaRPr lang="en-US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979B00C-7C1F-4F17-8D52-31D787A123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06895" y="2854112"/>
            <a:ext cx="1163145" cy="1163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52156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72000" rIns="72000"/>
          <a:lstStyle>
            <a:lvl1pPr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1pPr>
            <a:lvl2pPr marL="742950" indent="-28575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2pPr>
            <a:lvl3pPr marL="11430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3pPr>
            <a:lvl4pPr marL="16002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4pPr>
            <a:lvl5pPr marL="20574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ricsson Hilda Light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ricsson Hilda Light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ricsson Hilda Light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ricsson Hilda Light" pitchFamily="34" charset="0"/>
              </a:defRPr>
            </a:lvl9pPr>
          </a:lstStyle>
          <a:p>
            <a:pPr eaLnBrk="1" hangingPunct="1">
              <a:defRPr/>
            </a:pPr>
            <a:endParaRPr lang="en-US" altLang="en-US" dirty="0">
              <a:latin typeface="Ericsson Hilda Light" panose="00000400000000000000" pitchFamily="2" charset="0"/>
            </a:endParaRPr>
          </a:p>
        </p:txBody>
      </p:sp>
      <p:pic>
        <p:nvPicPr>
          <p:cNvPr id="9" name="Picture 11">
            <a:extLst>
              <a:ext uri="{FF2B5EF4-FFF2-40B4-BE49-F238E27FC236}">
                <a16:creationId xmlns:a16="http://schemas.microsoft.com/office/drawing/2014/main" id="{6CF73A11-8A39-48C9-ACAA-C58D0BA7D9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22391" y="476250"/>
            <a:ext cx="190184" cy="256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_TM">
            <a:extLst>
              <a:ext uri="{FF2B5EF4-FFF2-40B4-BE49-F238E27FC236}">
                <a16:creationId xmlns:a16="http://schemas.microsoft.com/office/drawing/2014/main" id="{4F3FE80A-6B53-492B-8FC1-A575806A0D00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5" y="476250"/>
            <a:ext cx="8353426" cy="3457575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 lang="en-US" sz="60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hapter/section divider or Statement/fact/quote, </a:t>
            </a:r>
            <a:br>
              <a:rPr lang="en-US" dirty="0"/>
            </a:br>
            <a:r>
              <a:rPr lang="en-US" dirty="0"/>
              <a:t>Ericsson Hilda Light 60pt, </a:t>
            </a:r>
            <a:br>
              <a:rPr lang="en-US" dirty="0"/>
            </a:br>
            <a:r>
              <a:rPr lang="en-US" dirty="0"/>
              <a:t>Ericsson White, </a:t>
            </a:r>
            <a:br>
              <a:rPr lang="en-US" dirty="0"/>
            </a:br>
            <a:r>
              <a:rPr lang="en-US" dirty="0"/>
              <a:t>max 5-lines</a:t>
            </a:r>
          </a:p>
        </p:txBody>
      </p:sp>
      <p:sp>
        <p:nvSpPr>
          <p:cNvPr id="11" name="SubTitle_TM">
            <a:extLst>
              <a:ext uri="{FF2B5EF4-FFF2-40B4-BE49-F238E27FC236}">
                <a16:creationId xmlns:a16="http://schemas.microsoft.com/office/drawing/2014/main" id="{3AECA499-20B0-4F79-85A2-1C9D1BFBB0C0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4" y="4149725"/>
            <a:ext cx="5472113" cy="2087563"/>
          </a:xfrm>
          <a:prstGeom prst="rect">
            <a:avLst/>
          </a:prstGeom>
        </p:spPr>
        <p:txBody>
          <a:bodyPr r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Statement/quote source, </a:t>
            </a:r>
          </a:p>
          <a:p>
            <a:r>
              <a:rPr lang="en-US" dirty="0"/>
              <a:t>Ericsson White, Ericsson Hilda 20pt</a:t>
            </a:r>
          </a:p>
        </p:txBody>
      </p:sp>
    </p:spTree>
    <p:extLst>
      <p:ext uri="{BB962C8B-B14F-4D97-AF65-F5344CB8AC3E}">
        <p14:creationId xmlns:p14="http://schemas.microsoft.com/office/powerpoint/2010/main" val="299406540"/>
      </p:ext>
    </p:extLst>
  </p:cSld>
  <p:clrMapOvr>
    <a:masterClrMapping/>
  </p:clrMapOvr>
  <p:hf sldNum="0" hdr="0" ftr="0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logo end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AEBC62E-40C0-43CF-98DC-55F7A1D1FD31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9" name="SubTitle_TM">
            <a:extLst>
              <a:ext uri="{FF2B5EF4-FFF2-40B4-BE49-F238E27FC236}">
                <a16:creationId xmlns:a16="http://schemas.microsoft.com/office/drawing/2014/main" id="{B200748E-0B61-48E1-8B47-504C30250995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071813" y="4153259"/>
            <a:ext cx="6048375" cy="347472"/>
          </a:xfrm>
          <a:prstGeom prst="rect">
            <a:avLst/>
          </a:prstGeom>
        </p:spPr>
        <p:txBody>
          <a:bodyPr rIns="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ericsson.com/related-</a:t>
            </a:r>
            <a:r>
              <a:rPr lang="en-US" dirty="0" err="1"/>
              <a:t>url</a:t>
            </a:r>
            <a:endParaRPr lang="en-US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ACE90D21-D589-4F0A-88B0-94229A40F01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08509" y="2842270"/>
            <a:ext cx="1174987" cy="1174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58297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2000" rIns="72000"/>
          <a:lstStyle/>
          <a:p>
            <a:pPr>
              <a:spcBef>
                <a:spcPct val="50000"/>
              </a:spcBef>
              <a:defRPr/>
            </a:pPr>
            <a:endParaRPr lang="en-US" dirty="0">
              <a:latin typeface="Ericsson Hilda Light" panose="00000400000000000000" pitchFamily="2" charset="0"/>
              <a:cs typeface="+mn-cs"/>
            </a:endParaRPr>
          </a:p>
        </p:txBody>
      </p:sp>
      <p:pic>
        <p:nvPicPr>
          <p:cNvPr id="9" name="Picture 11">
            <a:extLst>
              <a:ext uri="{FF2B5EF4-FFF2-40B4-BE49-F238E27FC236}">
                <a16:creationId xmlns:a16="http://schemas.microsoft.com/office/drawing/2014/main" id="{AD8118F2-961D-4A26-82DD-827B741645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22391" y="476250"/>
            <a:ext cx="190184" cy="256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_TM">
            <a:extLst>
              <a:ext uri="{FF2B5EF4-FFF2-40B4-BE49-F238E27FC236}">
                <a16:creationId xmlns:a16="http://schemas.microsoft.com/office/drawing/2014/main" id="{6AB007D5-DA18-4842-9C2D-8C72512602C0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5" y="476250"/>
            <a:ext cx="8353426" cy="3457575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 lang="en-US" sz="60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hapter/section divider or Statement/fact/quote, </a:t>
            </a:r>
            <a:br>
              <a:rPr lang="en-US" dirty="0"/>
            </a:br>
            <a:r>
              <a:rPr lang="en-US" dirty="0"/>
              <a:t>Ericsson Hilda Light 60pt, </a:t>
            </a:r>
            <a:br>
              <a:rPr lang="en-US" dirty="0"/>
            </a:br>
            <a:r>
              <a:rPr lang="en-US" dirty="0"/>
              <a:t>Ericsson White, </a:t>
            </a:r>
            <a:br>
              <a:rPr lang="en-US" dirty="0"/>
            </a:br>
            <a:r>
              <a:rPr lang="en-US" dirty="0"/>
              <a:t>max 5-lines</a:t>
            </a:r>
          </a:p>
        </p:txBody>
      </p:sp>
      <p:sp>
        <p:nvSpPr>
          <p:cNvPr id="11" name="SubTitle_TM">
            <a:extLst>
              <a:ext uri="{FF2B5EF4-FFF2-40B4-BE49-F238E27FC236}">
                <a16:creationId xmlns:a16="http://schemas.microsoft.com/office/drawing/2014/main" id="{0D3699C9-F9CA-4781-89C3-F0A901D1F1AF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4" y="4149725"/>
            <a:ext cx="5472113" cy="2087563"/>
          </a:xfrm>
          <a:prstGeom prst="rect">
            <a:avLst/>
          </a:prstGeom>
        </p:spPr>
        <p:txBody>
          <a:bodyPr r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Statement/quote source, </a:t>
            </a:r>
          </a:p>
          <a:p>
            <a:r>
              <a:rPr lang="en-US" dirty="0"/>
              <a:t>Ericsson White, Ericsson Hilda 20pt</a:t>
            </a:r>
          </a:p>
        </p:txBody>
      </p:sp>
    </p:spTree>
    <p:extLst>
      <p:ext uri="{BB962C8B-B14F-4D97-AF65-F5344CB8AC3E}">
        <p14:creationId xmlns:p14="http://schemas.microsoft.com/office/powerpoint/2010/main" val="3450366910"/>
      </p:ext>
    </p:extLst>
  </p:cSld>
  <p:clrMapOvr>
    <a:masterClrMapping/>
  </p:clrMapOvr>
  <p:hf sldNum="0" hdr="0" ftr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76" Type="http://schemas.openxmlformats.org/officeDocument/2006/relationships/slideLayout" Target="../slideLayouts/slideLayout76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82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77" Type="http://schemas.openxmlformats.org/officeDocument/2006/relationships/slideLayout" Target="../slideLayouts/slideLayout77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80" Type="http://schemas.openxmlformats.org/officeDocument/2006/relationships/slideLayout" Target="../slideLayouts/slideLayout80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83" Type="http://schemas.microsoft.com/office/2007/relationships/hdphoto" Target="../media/hdphoto1.wdp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7" name="Content_SM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9425" y="1844675"/>
            <a:ext cx="11233150" cy="4392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21506" name="Title_SM"/>
          <p:cNvSpPr>
            <a:spLocks noGrp="1" noChangeArrowheads="1"/>
          </p:cNvSpPr>
          <p:nvPr>
            <p:ph type="title"/>
          </p:nvPr>
        </p:nvSpPr>
        <p:spPr bwMode="auto">
          <a:xfrm>
            <a:off x="479424" y="476250"/>
            <a:ext cx="8353425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dirty="0"/>
              <a:t>Slide title, Ericsson Hilda Light 40pt, Ericsson Black, max 2-lin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051B066-0765-4F7D-BC7B-5421BFA666C6}"/>
              </a:ext>
            </a:extLst>
          </p:cNvPr>
          <p:cNvPicPr>
            <a:picLocks noChangeAspect="1"/>
          </p:cNvPicPr>
          <p:nvPr userDrawn="1"/>
        </p:nvPicPr>
        <p:blipFill>
          <a:blip r:embed="rId82" cstate="screen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83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2514" y="476250"/>
            <a:ext cx="190061" cy="256032"/>
          </a:xfrm>
          <a:prstGeom prst="rect">
            <a:avLst/>
          </a:prstGeom>
          <a:ln>
            <a:noFill/>
          </a:ln>
        </p:spPr>
      </p:pic>
      <p:sp>
        <p:nvSpPr>
          <p:cNvPr id="2" name="txtfooterCopy">
            <a:extLst>
              <a:ext uri="{FF2B5EF4-FFF2-40B4-BE49-F238E27FC236}">
                <a16:creationId xmlns:a16="http://schemas.microsoft.com/office/drawing/2014/main" id="{B5D66844-3D70-468C-AC9F-76DF3D537153}"/>
              </a:ext>
            </a:extLst>
          </p:cNvPr>
          <p:cNvSpPr txBox="1"/>
          <p:nvPr userDrawn="1"/>
        </p:nvSpPr>
        <p:spPr>
          <a:xfrm>
            <a:off x="527050" y="6524625"/>
            <a:ext cx="9865783" cy="2159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r>
              <a:rPr lang="en-US" sz="800" b="0" i="0" u="none" dirty="0">
                <a:solidFill>
                  <a:srgbClr val="87888A"/>
                </a:solidFill>
                <a:latin typeface="+mn-lt"/>
              </a:rPr>
              <a:t>Ericsson Internal  |  2018-09-20</a:t>
            </a:r>
          </a:p>
        </p:txBody>
      </p:sp>
    </p:spTree>
    <p:extLst>
      <p:ext uri="{BB962C8B-B14F-4D97-AF65-F5344CB8AC3E}">
        <p14:creationId xmlns:p14="http://schemas.microsoft.com/office/powerpoint/2010/main" val="2523064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95" r:id="rId2"/>
    <p:sldLayoutId id="2147483693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8" r:id="rId10"/>
    <p:sldLayoutId id="2147483669" r:id="rId11"/>
    <p:sldLayoutId id="2147483670" r:id="rId12"/>
    <p:sldLayoutId id="2147483671" r:id="rId13"/>
    <p:sldLayoutId id="2147483672" r:id="rId14"/>
    <p:sldLayoutId id="2147483691" r:id="rId15"/>
    <p:sldLayoutId id="2147483673" r:id="rId16"/>
    <p:sldLayoutId id="2147483674" r:id="rId17"/>
    <p:sldLayoutId id="2147483694" r:id="rId18"/>
    <p:sldLayoutId id="2147483682" r:id="rId19"/>
    <p:sldLayoutId id="2147483683" r:id="rId20"/>
    <p:sldLayoutId id="2147483684" r:id="rId21"/>
    <p:sldLayoutId id="2147483685" r:id="rId22"/>
    <p:sldLayoutId id="2147483675" r:id="rId23"/>
    <p:sldLayoutId id="2147483676" r:id="rId24"/>
    <p:sldLayoutId id="2147483686" r:id="rId25"/>
    <p:sldLayoutId id="2147483687" r:id="rId26"/>
    <p:sldLayoutId id="2147483688" r:id="rId27"/>
    <p:sldLayoutId id="2147483689" r:id="rId28"/>
    <p:sldLayoutId id="2147483696" r:id="rId29"/>
    <p:sldLayoutId id="2147483677" r:id="rId30"/>
    <p:sldLayoutId id="2147483678" r:id="rId31"/>
    <p:sldLayoutId id="2147483679" r:id="rId32"/>
    <p:sldLayoutId id="2147483680" r:id="rId33"/>
    <p:sldLayoutId id="2147483690" r:id="rId34"/>
    <p:sldLayoutId id="2147483681" r:id="rId35"/>
    <p:sldLayoutId id="2147483692" r:id="rId36"/>
    <p:sldLayoutId id="2147483697" r:id="rId37"/>
    <p:sldLayoutId id="2147483699" r:id="rId38"/>
    <p:sldLayoutId id="2147483700" r:id="rId39"/>
    <p:sldLayoutId id="2147483701" r:id="rId40"/>
    <p:sldLayoutId id="2147483702" r:id="rId41"/>
    <p:sldLayoutId id="2147483703" r:id="rId42"/>
    <p:sldLayoutId id="2147483704" r:id="rId43"/>
    <p:sldLayoutId id="2147483705" r:id="rId44"/>
    <p:sldLayoutId id="2147483706" r:id="rId45"/>
    <p:sldLayoutId id="2147483707" r:id="rId46"/>
    <p:sldLayoutId id="2147483708" r:id="rId47"/>
    <p:sldLayoutId id="2147483709" r:id="rId48"/>
    <p:sldLayoutId id="2147483710" r:id="rId49"/>
    <p:sldLayoutId id="2147483711" r:id="rId50"/>
    <p:sldLayoutId id="2147483712" r:id="rId51"/>
    <p:sldLayoutId id="2147483714" r:id="rId52"/>
    <p:sldLayoutId id="2147483715" r:id="rId53"/>
    <p:sldLayoutId id="2147483716" r:id="rId54"/>
    <p:sldLayoutId id="2147483717" r:id="rId55"/>
    <p:sldLayoutId id="2147483718" r:id="rId56"/>
    <p:sldLayoutId id="2147483719" r:id="rId57"/>
    <p:sldLayoutId id="2147483720" r:id="rId58"/>
    <p:sldLayoutId id="2147483721" r:id="rId59"/>
    <p:sldLayoutId id="2147483722" r:id="rId60"/>
    <p:sldLayoutId id="2147483723" r:id="rId61"/>
    <p:sldLayoutId id="2147483724" r:id="rId62"/>
    <p:sldLayoutId id="2147483725" r:id="rId63"/>
    <p:sldLayoutId id="2147483726" r:id="rId64"/>
    <p:sldLayoutId id="2147483727" r:id="rId65"/>
    <p:sldLayoutId id="2147483728" r:id="rId66"/>
    <p:sldLayoutId id="2147483729" r:id="rId67"/>
    <p:sldLayoutId id="2147483730" r:id="rId68"/>
    <p:sldLayoutId id="2147483731" r:id="rId69"/>
    <p:sldLayoutId id="2147483732" r:id="rId70"/>
    <p:sldLayoutId id="2147483733" r:id="rId71"/>
    <p:sldLayoutId id="2147483734" r:id="rId72"/>
    <p:sldLayoutId id="2147483735" r:id="rId73"/>
    <p:sldLayoutId id="2147483736" r:id="rId74"/>
    <p:sldLayoutId id="2147483737" r:id="rId75"/>
    <p:sldLayoutId id="2147483738" r:id="rId76"/>
    <p:sldLayoutId id="2147483739" r:id="rId77"/>
    <p:sldLayoutId id="2147483740" r:id="rId78"/>
    <p:sldLayoutId id="2147483741" r:id="rId79"/>
    <p:sldLayoutId id="2147483742" r:id="rId80"/>
  </p:sldLayoutIdLst>
  <p:hf sldNum="0" hdr="0" ftr="0" dt="0"/>
  <p:txStyles>
    <p:titleStyle>
      <a:lvl1pPr algn="l" rtl="0" eaLnBrk="1" fontAlgn="base" hangingPunct="1">
        <a:lnSpc>
          <a:spcPct val="85000"/>
        </a:lnSpc>
        <a:spcBef>
          <a:spcPts val="300"/>
        </a:spcBef>
        <a:spcAft>
          <a:spcPct val="0"/>
        </a:spcAft>
        <a:defRPr sz="4000" kern="1400" spc="-16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Ericsson Hilda" pitchFamily="2" charset="0"/>
        </a:defRPr>
      </a:lvl2pPr>
      <a:lvl3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Ericsson Hilda" pitchFamily="2" charset="0"/>
        </a:defRPr>
      </a:lvl3pPr>
      <a:lvl4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Ericsson Hilda" pitchFamily="2" charset="0"/>
        </a:defRPr>
      </a:lvl4pPr>
      <a:lvl5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Ericsson Hilda" pitchFamily="2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Hilda" pitchFamily="2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Hilda" pitchFamily="2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Hilda" pitchFamily="2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Hilda" pitchFamily="2" charset="0"/>
        </a:defRPr>
      </a:lvl9pPr>
    </p:titleStyle>
    <p:bodyStyle>
      <a:lvl1pPr marL="342900" indent="-342900" algn="l" rtl="0" eaLnBrk="1" fontAlgn="base" hangingPunct="1">
        <a:spcBef>
          <a:spcPts val="300"/>
        </a:spcBef>
        <a:spcAft>
          <a:spcPct val="0"/>
        </a:spcAft>
        <a:buClr>
          <a:schemeClr val="tx1"/>
        </a:buClr>
        <a:buFont typeface="Ericsson Hilda Light" panose="00000400000000000000" pitchFamily="2" charset="0"/>
        <a:buChar char="—"/>
        <a:defRPr sz="2000" kern="1000" spc="-30">
          <a:solidFill>
            <a:schemeClr val="tx1"/>
          </a:solidFill>
          <a:latin typeface="+mn-lt"/>
          <a:ea typeface="+mn-ea"/>
          <a:cs typeface="+mn-cs"/>
        </a:defRPr>
      </a:lvl1pPr>
      <a:lvl2pPr marL="342900" indent="-342900" algn="l" rtl="0" eaLnBrk="1" fontAlgn="base" hangingPunct="1">
        <a:spcBef>
          <a:spcPts val="300"/>
        </a:spcBef>
        <a:spcAft>
          <a:spcPct val="0"/>
        </a:spcAft>
        <a:buClr>
          <a:schemeClr val="tx1"/>
        </a:buClr>
        <a:buFont typeface="Ericsson Hilda Light" panose="00000400000000000000" pitchFamily="2" charset="0"/>
        <a:buChar char="—"/>
        <a:defRPr sz="2000" kern="1000" spc="-30">
          <a:solidFill>
            <a:schemeClr val="tx1"/>
          </a:solidFill>
          <a:latin typeface="+mn-lt"/>
        </a:defRPr>
      </a:lvl2pPr>
      <a:lvl3pPr marL="685800" indent="-342900" algn="l" rtl="0" eaLnBrk="1" fontAlgn="base" hangingPunct="1">
        <a:spcBef>
          <a:spcPts val="300"/>
        </a:spcBef>
        <a:spcAft>
          <a:spcPct val="0"/>
        </a:spcAft>
        <a:buClr>
          <a:schemeClr val="tx1"/>
        </a:buClr>
        <a:buFont typeface="Ericsson Hilda Light" panose="00000400000000000000" pitchFamily="2" charset="0"/>
        <a:buChar char="—"/>
        <a:defRPr sz="2000" kern="1000" spc="-30">
          <a:solidFill>
            <a:schemeClr val="tx1"/>
          </a:solidFill>
          <a:latin typeface="+mn-lt"/>
        </a:defRPr>
      </a:lvl3pPr>
      <a:lvl4pPr marL="1028700" indent="-342900" algn="l" rtl="0" eaLnBrk="1" fontAlgn="base" hangingPunct="1">
        <a:spcBef>
          <a:spcPts val="300"/>
        </a:spcBef>
        <a:spcAft>
          <a:spcPct val="0"/>
        </a:spcAft>
        <a:buClr>
          <a:schemeClr val="tx1"/>
        </a:buClr>
        <a:buFont typeface="Ericsson Hilda Light" panose="00000400000000000000" pitchFamily="2" charset="0"/>
        <a:buChar char="—"/>
        <a:defRPr sz="2000" kern="1000" spc="-30">
          <a:solidFill>
            <a:schemeClr val="tx1"/>
          </a:solidFill>
          <a:latin typeface="+mn-lt"/>
        </a:defRPr>
      </a:lvl4pPr>
      <a:lvl5pPr marL="1371600" indent="-342900" algn="l" rtl="0" eaLnBrk="1" fontAlgn="base" hangingPunct="1">
        <a:spcBef>
          <a:spcPts val="300"/>
        </a:spcBef>
        <a:spcAft>
          <a:spcPct val="0"/>
        </a:spcAft>
        <a:buClr>
          <a:schemeClr val="tx1"/>
        </a:buClr>
        <a:buFont typeface="Ericsson Hilda Light" panose="00000400000000000000" pitchFamily="2" charset="0"/>
        <a:buChar char="—"/>
        <a:defRPr sz="2000" kern="1000" spc="-30">
          <a:solidFill>
            <a:schemeClr val="tx1"/>
          </a:solidFill>
          <a:latin typeface="+mn-lt"/>
        </a:defRPr>
      </a:lvl5pPr>
      <a:lvl6pPr marL="2071688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Ericsson Hilda" pitchFamily="2" charset="0"/>
        <a:buChar char="›"/>
        <a:defRPr sz="2000">
          <a:solidFill>
            <a:schemeClr val="tx1"/>
          </a:solidFill>
          <a:latin typeface="+mn-lt"/>
        </a:defRPr>
      </a:lvl6pPr>
      <a:lvl7pPr marL="2528888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Ericsson Hilda" pitchFamily="2" charset="0"/>
        <a:buChar char="›"/>
        <a:defRPr sz="2000">
          <a:solidFill>
            <a:schemeClr val="tx1"/>
          </a:solidFill>
          <a:latin typeface="+mn-lt"/>
        </a:defRPr>
      </a:lvl7pPr>
      <a:lvl8pPr marL="2986088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Ericsson Hilda" pitchFamily="2" charset="0"/>
        <a:buChar char="›"/>
        <a:defRPr sz="2000">
          <a:solidFill>
            <a:schemeClr val="tx1"/>
          </a:solidFill>
          <a:latin typeface="+mn-lt"/>
        </a:defRPr>
      </a:lvl8pPr>
      <a:lvl9pPr marL="3443288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Ericsson Hilda" pitchFamily="2" charset="0"/>
        <a:buChar char="›"/>
        <a:defRPr sz="2000">
          <a:solidFill>
            <a:schemeClr val="tx1"/>
          </a:solidFill>
          <a:latin typeface="+mn-lt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00">
          <p15:clr>
            <a:srgbClr val="A4A3A4"/>
          </p15:clr>
        </p15:guide>
        <p15:guide id="2" pos="302">
          <p15:clr>
            <a:srgbClr val="A4A3A4"/>
          </p15:clr>
        </p15:guide>
        <p15:guide id="3" pos="1935">
          <p15:clr>
            <a:srgbClr val="A4A3A4"/>
          </p15:clr>
        </p15:guide>
        <p15:guide id="4" orient="horz" pos="981">
          <p15:clr>
            <a:srgbClr val="A4A3A4"/>
          </p15:clr>
        </p15:guide>
        <p15:guide id="6" pos="2116">
          <p15:clr>
            <a:srgbClr val="A4A3A4"/>
          </p15:clr>
        </p15:guide>
        <p15:guide id="7" pos="3931">
          <p15:clr>
            <a:srgbClr val="A4A3A4"/>
          </p15:clr>
        </p15:guide>
        <p15:guide id="9" pos="3749">
          <p15:clr>
            <a:srgbClr val="A4A3A4"/>
          </p15:clr>
        </p15:guide>
        <p15:guide id="10" pos="5564">
          <p15:clr>
            <a:srgbClr val="A4A3A4"/>
          </p15:clr>
        </p15:guide>
        <p15:guide id="12" pos="5745">
          <p15:clr>
            <a:srgbClr val="A4A3A4"/>
          </p15:clr>
        </p15:guide>
        <p15:guide id="13" pos="7378">
          <p15:clr>
            <a:srgbClr val="A4A3A4"/>
          </p15:clr>
        </p15:guide>
        <p15:guide id="16" orient="horz" pos="2478">
          <p15:clr>
            <a:srgbClr val="A4A3A4"/>
          </p15:clr>
        </p15:guide>
        <p15:guide id="17" orient="horz" pos="2614">
          <p15:clr>
            <a:srgbClr val="A4A3A4"/>
          </p15:clr>
        </p15:guide>
        <p15:guide id="18" orient="horz" pos="3929">
          <p15:clr>
            <a:srgbClr val="A4A3A4"/>
          </p15:clr>
        </p15:guide>
        <p15:guide id="19" orient="horz" pos="4110">
          <p15:clr>
            <a:srgbClr val="A4A3A4"/>
          </p15:clr>
        </p15:guide>
        <p15:guide id="20" orient="horz" pos="1162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2.png"/><Relationship Id="rId4" Type="http://schemas.openxmlformats.org/officeDocument/2006/relationships/image" Target="../media/image2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1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wmf"/><Relationship Id="rId3" Type="http://schemas.openxmlformats.org/officeDocument/2006/relationships/notesSlide" Target="../notesSlides/notesSlide16.xml"/><Relationship Id="rId7" Type="http://schemas.openxmlformats.org/officeDocument/2006/relationships/oleObject" Target="../embeddings/oleObject3.bin"/><Relationship Id="rId2" Type="http://schemas.openxmlformats.org/officeDocument/2006/relationships/slideLayout" Target="../slideLayouts/slideLayout1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6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ericsson.sharepoint.com/:p:/r/sites/IntegratedServiceFlowISF/Shared%20Documents/ISF%20Release%20Document/ISF%20Enhancements%20R2.3.1.pptx?d=w663cfdf60fe84322bb6ff6f68793bc03&amp;csf=1&amp;e=Kz9bBV" TargetMode="Externa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Relationship Id="rId9" Type="http://schemas.openxmlformats.org/officeDocument/2006/relationships/hyperlink" Target="https://ericsson.sharepoint.com/sites/IntegratedServiceFlowISF" TargetMode="Externa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7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8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://10.184.56.132/ISF_UI_PreProd/" TargetMode="Externa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7.xml"/><Relationship Id="rId4" Type="http://schemas.openxmlformats.org/officeDocument/2006/relationships/hyperlink" Target="http://10.184.56.132/isfupload/Setup/ISF/1.6/ISFSHSetup_PreProd_27092018.zip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2.png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2.png"/><Relationship Id="rId4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17EE347-92C4-40CB-9FC7-22D0C4B396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425" y="476250"/>
            <a:ext cx="10568326" cy="3457576"/>
          </a:xfrm>
        </p:spPr>
        <p:txBody>
          <a:bodyPr/>
          <a:lstStyle/>
          <a:p>
            <a:r>
              <a:rPr lang="en-US" dirty="0">
                <a:latin typeface="Ericsson Hilda Light" panose="00000400000000000000" pitchFamily="2" charset="0"/>
              </a:rPr>
              <a:t>ISF Flow – BOT Integration</a:t>
            </a:r>
            <a:br>
              <a:rPr lang="en-US" dirty="0">
                <a:latin typeface="Ericsson Hilda Light" panose="00000400000000000000" pitchFamily="2" charset="0"/>
              </a:rPr>
            </a:br>
            <a:br>
              <a:rPr lang="en-US" dirty="0">
                <a:latin typeface="Ericsson Hilda Light" panose="00000400000000000000" pitchFamily="2" charset="0"/>
              </a:rPr>
            </a:br>
            <a:r>
              <a:rPr lang="en-US" dirty="0">
                <a:latin typeface="Ericsson Hilda Light" panose="00000400000000000000" pitchFamily="2" charset="0"/>
              </a:rPr>
              <a:t>Macro/Python/Jav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8967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17EE347-92C4-40CB-9FC7-22D0C4B396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425" y="1870335"/>
            <a:ext cx="10943080" cy="1577403"/>
          </a:xfrm>
        </p:spPr>
        <p:txBody>
          <a:bodyPr/>
          <a:lstStyle/>
          <a:p>
            <a:r>
              <a:rPr lang="en-US" dirty="0"/>
              <a:t>ISF Integration of Python BO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952009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A5D622B-A492-4494-872F-86FEB509D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5584" y="129682"/>
            <a:ext cx="11436686" cy="1081088"/>
          </a:xfrm>
        </p:spPr>
        <p:txBody>
          <a:bodyPr/>
          <a:lstStyle/>
          <a:p>
            <a:pPr algn="ctr"/>
            <a:r>
              <a:rPr lang="en-US" sz="4400" dirty="0">
                <a:solidFill>
                  <a:schemeClr val="bg1"/>
                </a:solidFill>
              </a:rPr>
              <a:t>BOT Guideline – Python</a:t>
            </a:r>
          </a:p>
        </p:txBody>
      </p:sp>
      <p:sp>
        <p:nvSpPr>
          <p:cNvPr id="3" name="Text Box 1"/>
          <p:cNvSpPr txBox="1">
            <a:spLocks noChangeArrowheads="1"/>
          </p:cNvSpPr>
          <p:nvPr/>
        </p:nvSpPr>
        <p:spPr bwMode="auto">
          <a:xfrm>
            <a:off x="270456" y="1015898"/>
            <a:ext cx="10972167" cy="14874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72000" tIns="0" rIns="72000" bIns="0" anchor="ctr"/>
          <a:lstStyle>
            <a:lvl1pPr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285750" indent="-285750" algn="l">
              <a:spcBef>
                <a:spcPts val="1600"/>
              </a:spcBef>
              <a:buClr>
                <a:srgbClr val="89BA17"/>
              </a:buClr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bg1"/>
                </a:solidFill>
                <a:cs typeface="Arial" pitchFamily="34" charset="0"/>
              </a:rPr>
              <a:t>Your python code should not contain any UI related code, if any it needs to be removed.</a:t>
            </a:r>
          </a:p>
          <a:p>
            <a:pPr marL="285750" indent="-285750" algn="l">
              <a:spcBef>
                <a:spcPts val="1600"/>
              </a:spcBef>
              <a:buClr>
                <a:srgbClr val="89BA17"/>
              </a:buClr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bg1"/>
                </a:solidFill>
                <a:cs typeface="Arial" pitchFamily="34" charset="0"/>
              </a:rPr>
              <a:t>The python code should have main method accepting 2 parameters as below snippet-</a:t>
            </a:r>
          </a:p>
        </p:txBody>
      </p:sp>
      <p:pic>
        <p:nvPicPr>
          <p:cNvPr id="4" name="Picture 3">
            <a:extLst/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5470" y="2698230"/>
            <a:ext cx="7219396" cy="3528276"/>
          </a:xfrm>
          <a:prstGeom prst="rect">
            <a:avLst/>
          </a:prstGeom>
        </p:spPr>
      </p:pic>
      <p:pic>
        <p:nvPicPr>
          <p:cNvPr id="5" name="Picture 11">
            <a:extLst/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22391" y="476250"/>
            <a:ext cx="190184" cy="256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8099869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5">
            <a:extLst/>
          </p:cNvPr>
          <p:cNvSpPr>
            <a:spLocks noGrp="1"/>
          </p:cNvSpPr>
          <p:nvPr>
            <p:ph type="title"/>
          </p:nvPr>
        </p:nvSpPr>
        <p:spPr>
          <a:xfrm>
            <a:off x="1785820" y="129682"/>
            <a:ext cx="8353425" cy="1081088"/>
          </a:xfrm>
        </p:spPr>
        <p:txBody>
          <a:bodyPr/>
          <a:lstStyle/>
          <a:p>
            <a:pPr algn="ctr"/>
            <a:r>
              <a:rPr lang="en-US" sz="4400" dirty="0">
                <a:solidFill>
                  <a:schemeClr val="bg1"/>
                </a:solidFill>
              </a:rPr>
              <a:t>Required Python Changes for Input</a:t>
            </a:r>
            <a:endParaRPr lang="sv-SE" sz="4400" dirty="0">
              <a:solidFill>
                <a:schemeClr val="bg1"/>
              </a:solidFill>
            </a:endParaRPr>
          </a:p>
        </p:txBody>
      </p:sp>
      <p:sp>
        <p:nvSpPr>
          <p:cNvPr id="30" name="Text Box 1"/>
          <p:cNvSpPr txBox="1">
            <a:spLocks noChangeArrowheads="1"/>
          </p:cNvSpPr>
          <p:nvPr/>
        </p:nvSpPr>
        <p:spPr bwMode="auto">
          <a:xfrm>
            <a:off x="145737" y="900036"/>
            <a:ext cx="11246788" cy="47522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72000" tIns="0" rIns="72000" bIns="0" anchor="ctr"/>
          <a:lstStyle>
            <a:lvl1pPr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285750" indent="-285750" algn="l">
              <a:spcBef>
                <a:spcPts val="1600"/>
              </a:spcBef>
              <a:buClr>
                <a:srgbClr val="89BA17"/>
              </a:buClr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bg1"/>
                </a:solidFill>
                <a:cs typeface="Arial" pitchFamily="34" charset="0"/>
              </a:rPr>
              <a:t>Need to remove all hardcode Input Paths from your code. Examples as below:</a:t>
            </a:r>
          </a:p>
          <a:p>
            <a:pPr marL="1028700" lvl="1" algn="l">
              <a:spcBef>
                <a:spcPts val="1600"/>
              </a:spcBef>
              <a:buClr>
                <a:srgbClr val="89BA17"/>
              </a:buClr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bg1"/>
                </a:solidFill>
                <a:cs typeface="Arial" pitchFamily="34" charset="0"/>
              </a:rPr>
              <a:t>Old code:</a:t>
            </a:r>
          </a:p>
          <a:p>
            <a:pPr marL="1028700" lvl="1" algn="l">
              <a:spcBef>
                <a:spcPts val="1600"/>
              </a:spcBef>
              <a:buClr>
                <a:srgbClr val="89BA17"/>
              </a:buClr>
              <a:buFont typeface="Wingdings" panose="05000000000000000000" pitchFamily="2" charset="2"/>
              <a:buChar char="Ø"/>
            </a:pPr>
            <a:endParaRPr lang="en-US" sz="2000" dirty="0">
              <a:solidFill>
                <a:schemeClr val="bg1"/>
              </a:solidFill>
              <a:cs typeface="Arial" pitchFamily="34" charset="0"/>
            </a:endParaRPr>
          </a:p>
          <a:p>
            <a:pPr marL="1028700" lvl="1" algn="l">
              <a:spcBef>
                <a:spcPts val="1600"/>
              </a:spcBef>
              <a:buClr>
                <a:srgbClr val="89BA17"/>
              </a:buClr>
              <a:buFont typeface="Wingdings" panose="05000000000000000000" pitchFamily="2" charset="2"/>
              <a:buChar char="Ø"/>
            </a:pPr>
            <a:endParaRPr lang="en-US" sz="2000" dirty="0">
              <a:solidFill>
                <a:schemeClr val="bg1"/>
              </a:solidFill>
              <a:cs typeface="Arial" pitchFamily="34" charset="0"/>
            </a:endParaRPr>
          </a:p>
          <a:p>
            <a:pPr marL="1028700" lvl="1" algn="l">
              <a:spcBef>
                <a:spcPts val="1600"/>
              </a:spcBef>
              <a:buClr>
                <a:srgbClr val="89BA17"/>
              </a:buClr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bg1"/>
                </a:solidFill>
                <a:cs typeface="Arial" pitchFamily="34" charset="0"/>
              </a:rPr>
              <a:t>New code:</a:t>
            </a:r>
          </a:p>
          <a:p>
            <a:pPr algn="l">
              <a:spcBef>
                <a:spcPts val="1600"/>
              </a:spcBef>
              <a:buClr>
                <a:srgbClr val="89BA17"/>
              </a:buClr>
            </a:pPr>
            <a:endParaRPr lang="en-US" sz="2000" dirty="0">
              <a:solidFill>
                <a:schemeClr val="bg1"/>
              </a:solidFill>
              <a:cs typeface="Arial" pitchFamily="34" charset="0"/>
            </a:endParaRPr>
          </a:p>
          <a:p>
            <a:pPr lvl="1" indent="0" algn="l">
              <a:spcBef>
                <a:spcPts val="1600"/>
              </a:spcBef>
              <a:buClr>
                <a:srgbClr val="89BA17"/>
              </a:buClr>
            </a:pPr>
            <a:endParaRPr lang="en-US" sz="2000" dirty="0">
              <a:solidFill>
                <a:schemeClr val="bg1"/>
              </a:solidFill>
              <a:cs typeface="Arial" pitchFamily="34" charset="0"/>
            </a:endParaRPr>
          </a:p>
          <a:p>
            <a:pPr lvl="1" indent="0" algn="l">
              <a:spcBef>
                <a:spcPts val="1600"/>
              </a:spcBef>
              <a:buClr>
                <a:srgbClr val="89BA17"/>
              </a:buClr>
            </a:pPr>
            <a:endParaRPr lang="en-US" sz="20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97737" y="5003997"/>
            <a:ext cx="83886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600"/>
              </a:spcBef>
              <a:buClr>
                <a:srgbClr val="89BA17"/>
              </a:buClr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bg1"/>
                </a:solidFill>
                <a:cs typeface="Arial" pitchFamily="34" charset="0"/>
              </a:rPr>
              <a:t>As shown in above images, please changes your hard coded path accordingly. And make changes in your complete code to remove hard coded path for input path.</a:t>
            </a:r>
          </a:p>
          <a:p>
            <a:endParaRPr lang="en-US" sz="1600" dirty="0"/>
          </a:p>
        </p:txBody>
      </p:sp>
      <p:pic>
        <p:nvPicPr>
          <p:cNvPr id="32" name="Picture 31">
            <a:extLst/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50127" y="3790699"/>
            <a:ext cx="9272968" cy="863645"/>
          </a:xfrm>
          <a:prstGeom prst="rect">
            <a:avLst/>
          </a:prstGeom>
        </p:spPr>
      </p:pic>
      <p:pic>
        <p:nvPicPr>
          <p:cNvPr id="33" name="Picture 32">
            <a:extLst/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50127" y="2608547"/>
            <a:ext cx="10500361" cy="577885"/>
          </a:xfrm>
          <a:prstGeom prst="rect">
            <a:avLst/>
          </a:prstGeom>
        </p:spPr>
      </p:pic>
      <p:pic>
        <p:nvPicPr>
          <p:cNvPr id="34" name="Picture 11">
            <a:extLst/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22391" y="476250"/>
            <a:ext cx="190184" cy="256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3508589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5">
            <a:extLst/>
          </p:cNvPr>
          <p:cNvSpPr>
            <a:spLocks noGrp="1"/>
          </p:cNvSpPr>
          <p:nvPr>
            <p:ph type="title"/>
          </p:nvPr>
        </p:nvSpPr>
        <p:spPr>
          <a:xfrm>
            <a:off x="1785820" y="129682"/>
            <a:ext cx="8353425" cy="1081088"/>
          </a:xfrm>
        </p:spPr>
        <p:txBody>
          <a:bodyPr/>
          <a:lstStyle/>
          <a:p>
            <a:pPr algn="ctr"/>
            <a:r>
              <a:rPr lang="en-US" sz="4400" dirty="0">
                <a:solidFill>
                  <a:schemeClr val="bg1"/>
                </a:solidFill>
              </a:rPr>
              <a:t>Required Python Changes for Output</a:t>
            </a:r>
            <a:endParaRPr lang="sv-SE" sz="44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141668" y="1442432"/>
            <a:ext cx="8962323" cy="4971067"/>
          </a:xfrm>
          <a:prstGeom prst="rect">
            <a:avLst/>
          </a:prstGeom>
          <a:solidFill>
            <a:srgbClr val="002060"/>
          </a:solidFill>
          <a:ln>
            <a:noFill/>
          </a:ln>
          <a:effectLst/>
          <a:extLst/>
        </p:spPr>
        <p:txBody>
          <a:bodyPr wrap="none" anchor="ctr"/>
          <a:lstStyle/>
          <a:p>
            <a:pPr algn="l">
              <a:spcBef>
                <a:spcPts val="1600"/>
              </a:spcBef>
              <a:buClr>
                <a:srgbClr val="89BA17"/>
              </a:buClr>
            </a:pPr>
            <a:endParaRPr lang="en-US" sz="16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7" name="Text Box 1"/>
          <p:cNvSpPr txBox="1">
            <a:spLocks noChangeArrowheads="1"/>
          </p:cNvSpPr>
          <p:nvPr/>
        </p:nvSpPr>
        <p:spPr bwMode="auto">
          <a:xfrm>
            <a:off x="270456" y="926100"/>
            <a:ext cx="11571774" cy="1953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72000" tIns="0" rIns="72000" bIns="0" anchor="ctr"/>
          <a:lstStyle>
            <a:lvl1pPr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285750" indent="-285750" algn="l">
              <a:spcBef>
                <a:spcPts val="1600"/>
              </a:spcBef>
              <a:buClr>
                <a:srgbClr val="89BA17"/>
              </a:buClr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bg1"/>
                </a:solidFill>
                <a:cs typeface="Arial" pitchFamily="34" charset="0"/>
              </a:rPr>
              <a:t>Your python code should not contain any UI related code, if any it needs to be removed.</a:t>
            </a:r>
          </a:p>
          <a:p>
            <a:pPr marL="285750" indent="-285750" algn="l">
              <a:spcBef>
                <a:spcPts val="1600"/>
              </a:spcBef>
              <a:buClr>
                <a:srgbClr val="89BA17"/>
              </a:buClr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bg1"/>
                </a:solidFill>
                <a:cs typeface="Arial" pitchFamily="34" charset="0"/>
              </a:rPr>
              <a:t>The python code should have main method accepting 2 parameters as below snippet-</a:t>
            </a:r>
          </a:p>
        </p:txBody>
      </p:sp>
      <p:pic>
        <p:nvPicPr>
          <p:cNvPr id="8" name="Picture 7">
            <a:extLst/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4075" y="2594131"/>
            <a:ext cx="7725525" cy="3775633"/>
          </a:xfrm>
          <a:prstGeom prst="rect">
            <a:avLst/>
          </a:prstGeom>
        </p:spPr>
      </p:pic>
      <p:pic>
        <p:nvPicPr>
          <p:cNvPr id="9" name="Picture 11">
            <a:extLst/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22391" y="476250"/>
            <a:ext cx="190184" cy="256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1055172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17EE347-92C4-40CB-9FC7-22D0C4B396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425" y="1870335"/>
            <a:ext cx="10943080" cy="1577403"/>
          </a:xfrm>
        </p:spPr>
        <p:txBody>
          <a:bodyPr/>
          <a:lstStyle/>
          <a:p>
            <a:r>
              <a:rPr lang="en-US" dirty="0"/>
              <a:t>ISF Integration of Java BO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035047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5">
            <a:extLst/>
          </p:cNvPr>
          <p:cNvSpPr>
            <a:spLocks noGrp="1"/>
          </p:cNvSpPr>
          <p:nvPr>
            <p:ph type="title"/>
          </p:nvPr>
        </p:nvSpPr>
        <p:spPr>
          <a:xfrm>
            <a:off x="1785820" y="129682"/>
            <a:ext cx="8353425" cy="1081088"/>
          </a:xfrm>
        </p:spPr>
        <p:txBody>
          <a:bodyPr/>
          <a:lstStyle/>
          <a:p>
            <a:pPr algn="ctr"/>
            <a:r>
              <a:rPr lang="en-US" sz="4400" dirty="0">
                <a:solidFill>
                  <a:schemeClr val="bg1"/>
                </a:solidFill>
              </a:rPr>
              <a:t>Required Python Changes for Output</a:t>
            </a:r>
            <a:endParaRPr lang="sv-SE" sz="44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0"/>
            <a:ext cx="12192000" cy="6857999"/>
          </a:xfrm>
          <a:prstGeom prst="rect">
            <a:avLst/>
          </a:prstGeom>
          <a:solidFill>
            <a:srgbClr val="002060"/>
          </a:solidFill>
          <a:ln>
            <a:noFill/>
          </a:ln>
          <a:effectLst/>
          <a:extLst/>
        </p:spPr>
        <p:txBody>
          <a:bodyPr wrap="none" anchor="ctr"/>
          <a:lstStyle/>
          <a:p>
            <a:pPr algn="l">
              <a:spcBef>
                <a:spcPts val="1600"/>
              </a:spcBef>
              <a:buClr>
                <a:srgbClr val="89BA17"/>
              </a:buClr>
            </a:pPr>
            <a:endParaRPr lang="en-US" sz="1600" dirty="0">
              <a:solidFill>
                <a:schemeClr val="bg1"/>
              </a:solidFill>
              <a:cs typeface="Arial" pitchFamily="34" charset="0"/>
            </a:endParaRPr>
          </a:p>
        </p:txBody>
      </p:sp>
      <p:pic>
        <p:nvPicPr>
          <p:cNvPr id="9" name="Picture 11">
            <a:extLst/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22391" y="476250"/>
            <a:ext cx="190184" cy="256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5">
            <a:extLst/>
          </p:cNvPr>
          <p:cNvSpPr txBox="1">
            <a:spLocks/>
          </p:cNvSpPr>
          <p:nvPr/>
        </p:nvSpPr>
        <p:spPr bwMode="auto">
          <a:xfrm>
            <a:off x="345584" y="129682"/>
            <a:ext cx="1143668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lnSpc>
                <a:spcPct val="85000"/>
              </a:lnSpc>
              <a:spcBef>
                <a:spcPts val="300"/>
              </a:spcBef>
              <a:spcAft>
                <a:spcPct val="0"/>
              </a:spcAft>
              <a:defRPr sz="4000" kern="1400" spc="-16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Ericsson Hilda" pitchFamily="2" charset="0"/>
              </a:defRPr>
            </a:lvl2pPr>
            <a:lvl3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Ericsson Hilda" pitchFamily="2" charset="0"/>
              </a:defRPr>
            </a:lvl3pPr>
            <a:lvl4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Ericsson Hilda" pitchFamily="2" charset="0"/>
              </a:defRPr>
            </a:lvl4pPr>
            <a:lvl5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Ericsson Hilda" pitchFamily="2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Hilda" pitchFamily="2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Hilda" pitchFamily="2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Hilda" pitchFamily="2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Hilda" pitchFamily="2" charset="0"/>
              </a:defRPr>
            </a:lvl9pPr>
          </a:lstStyle>
          <a:p>
            <a:pPr algn="ctr"/>
            <a:r>
              <a:rPr lang="en-US" sz="4400" dirty="0">
                <a:solidFill>
                  <a:schemeClr val="bg1"/>
                </a:solidFill>
              </a:rPr>
              <a:t>BOT Guideline – Java</a:t>
            </a:r>
          </a:p>
        </p:txBody>
      </p:sp>
      <p:sp>
        <p:nvSpPr>
          <p:cNvPr id="11" name="Text Box 1"/>
          <p:cNvSpPr txBox="1">
            <a:spLocks noChangeArrowheads="1"/>
          </p:cNvSpPr>
          <p:nvPr/>
        </p:nvSpPr>
        <p:spPr bwMode="auto">
          <a:xfrm>
            <a:off x="270456" y="1055077"/>
            <a:ext cx="11771489" cy="56270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72000" tIns="0" rIns="72000" bIns="0" anchor="ctr"/>
          <a:lstStyle>
            <a:lvl1pPr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285750" indent="-285750" algn="l">
              <a:spcBef>
                <a:spcPts val="1600"/>
              </a:spcBef>
              <a:buClr>
                <a:srgbClr val="89BA17"/>
              </a:buClr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bg1"/>
                </a:solidFill>
                <a:cs typeface="Arial" pitchFamily="34" charset="0"/>
              </a:rPr>
              <a:t>Jar file name should not contain any Blank spaces and Special characters (Can use underscore).</a:t>
            </a:r>
          </a:p>
          <a:p>
            <a:pPr marL="285750" indent="-285750" algn="l">
              <a:spcBef>
                <a:spcPts val="1600"/>
              </a:spcBef>
              <a:buClr>
                <a:srgbClr val="89BA17"/>
              </a:buClr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bg1"/>
                </a:solidFill>
                <a:cs typeface="Arial" pitchFamily="34" charset="0"/>
              </a:rPr>
              <a:t>Your Java class code should not be contains main(String[] </a:t>
            </a:r>
            <a:r>
              <a:rPr lang="en-US" sz="1600" dirty="0" err="1">
                <a:solidFill>
                  <a:schemeClr val="bg1"/>
                </a:solidFill>
                <a:cs typeface="Arial" pitchFamily="34" charset="0"/>
              </a:rPr>
              <a:t>args</a:t>
            </a:r>
            <a:r>
              <a:rPr lang="en-US" sz="1600" dirty="0">
                <a:solidFill>
                  <a:schemeClr val="bg1"/>
                </a:solidFill>
                <a:cs typeface="Arial" pitchFamily="34" charset="0"/>
              </a:rPr>
              <a:t>) method.</a:t>
            </a:r>
          </a:p>
          <a:p>
            <a:pPr marL="285750" indent="-285750" algn="l">
              <a:spcBef>
                <a:spcPts val="1600"/>
              </a:spcBef>
              <a:buClr>
                <a:srgbClr val="89BA17"/>
              </a:buClr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bg1"/>
                </a:solidFill>
                <a:cs typeface="Arial" pitchFamily="34" charset="0"/>
              </a:rPr>
              <a:t>Your main code will start from </a:t>
            </a:r>
            <a:r>
              <a:rPr lang="en-US" sz="1600" dirty="0" err="1">
                <a:solidFill>
                  <a:schemeClr val="bg1"/>
                </a:solidFill>
                <a:cs typeface="Arial" pitchFamily="34" charset="0"/>
              </a:rPr>
              <a:t>doProcess</a:t>
            </a:r>
            <a:r>
              <a:rPr lang="en-US" sz="1600" dirty="0">
                <a:solidFill>
                  <a:schemeClr val="bg1"/>
                </a:solidFill>
                <a:cs typeface="Arial" pitchFamily="34" charset="0"/>
              </a:rPr>
              <a:t>() method.</a:t>
            </a:r>
          </a:p>
          <a:p>
            <a:pPr marL="1028700" lvl="1">
              <a:spcBef>
                <a:spcPts val="1600"/>
              </a:spcBef>
              <a:buClr>
                <a:srgbClr val="89BA17"/>
              </a:buClr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bg1"/>
                </a:solidFill>
                <a:cs typeface="Arial" pitchFamily="34" charset="0"/>
              </a:rPr>
              <a:t>Return type of </a:t>
            </a:r>
            <a:r>
              <a:rPr lang="en-US" sz="1600" dirty="0" err="1">
                <a:solidFill>
                  <a:schemeClr val="bg1"/>
                </a:solidFill>
                <a:cs typeface="Arial" pitchFamily="34" charset="0"/>
              </a:rPr>
              <a:t>doProcess</a:t>
            </a:r>
            <a:r>
              <a:rPr lang="en-US" sz="1600" dirty="0">
                <a:solidFill>
                  <a:schemeClr val="bg1"/>
                </a:solidFill>
                <a:cs typeface="Arial" pitchFamily="34" charset="0"/>
              </a:rPr>
              <a:t>() method will be </a:t>
            </a:r>
            <a:r>
              <a:rPr lang="en-US" sz="1600" dirty="0" err="1">
                <a:solidFill>
                  <a:schemeClr val="bg1"/>
                </a:solidFill>
                <a:cs typeface="Arial" pitchFamily="34" charset="0"/>
              </a:rPr>
              <a:t>int</a:t>
            </a:r>
            <a:r>
              <a:rPr lang="en-US" sz="1600" dirty="0">
                <a:solidFill>
                  <a:schemeClr val="bg1"/>
                </a:solidFill>
                <a:cs typeface="Arial" pitchFamily="34" charset="0"/>
              </a:rPr>
              <a:t> type.</a:t>
            </a:r>
          </a:p>
          <a:p>
            <a:pPr marL="1028700" lvl="1">
              <a:spcBef>
                <a:spcPts val="1600"/>
              </a:spcBef>
              <a:buClr>
                <a:srgbClr val="89BA17"/>
              </a:buClr>
              <a:buFont typeface="Wingdings" panose="05000000000000000000" pitchFamily="2" charset="2"/>
              <a:buChar char="Ø"/>
            </a:pPr>
            <a:r>
              <a:rPr lang="en-US" sz="1600" dirty="0" err="1">
                <a:solidFill>
                  <a:schemeClr val="bg1"/>
                </a:solidFill>
                <a:cs typeface="Arial" pitchFamily="34" charset="0"/>
              </a:rPr>
              <a:t>doProcess</a:t>
            </a:r>
            <a:r>
              <a:rPr lang="en-US" sz="1600" dirty="0">
                <a:solidFill>
                  <a:schemeClr val="bg1"/>
                </a:solidFill>
                <a:cs typeface="Arial" pitchFamily="34" charset="0"/>
              </a:rPr>
              <a:t>() method should accept 2 arguments.</a:t>
            </a:r>
          </a:p>
          <a:p>
            <a:pPr algn="l">
              <a:spcBef>
                <a:spcPts val="1600"/>
              </a:spcBef>
              <a:buClr>
                <a:srgbClr val="89BA17"/>
              </a:buClr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bg1"/>
                </a:solidFill>
                <a:cs typeface="Arial" pitchFamily="34" charset="0"/>
              </a:rPr>
              <a:t> Developer has to define two global variables as shown in below image.</a:t>
            </a:r>
          </a:p>
          <a:p>
            <a:pPr marL="1028700" lvl="1" algn="l">
              <a:spcBef>
                <a:spcPts val="1600"/>
              </a:spcBef>
              <a:buClr>
                <a:srgbClr val="89BA17"/>
              </a:buClr>
              <a:buFont typeface="Wingdings" panose="05000000000000000000" pitchFamily="2" charset="2"/>
              <a:buChar char="Ø"/>
            </a:pPr>
            <a:endParaRPr lang="en-US" sz="1600" dirty="0">
              <a:solidFill>
                <a:schemeClr val="bg1"/>
              </a:solidFill>
              <a:cs typeface="Arial" pitchFamily="34" charset="0"/>
            </a:endParaRPr>
          </a:p>
          <a:p>
            <a:pPr marL="1028700" lvl="1" algn="l">
              <a:spcBef>
                <a:spcPts val="1600"/>
              </a:spcBef>
              <a:buClr>
                <a:srgbClr val="89BA17"/>
              </a:buClr>
              <a:buFont typeface="Wingdings" panose="05000000000000000000" pitchFamily="2" charset="2"/>
              <a:buChar char="Ø"/>
            </a:pPr>
            <a:endParaRPr lang="en-US" sz="1600" dirty="0">
              <a:solidFill>
                <a:schemeClr val="bg1"/>
              </a:solidFill>
              <a:cs typeface="Arial" pitchFamily="34" charset="0"/>
            </a:endParaRPr>
          </a:p>
          <a:p>
            <a:pPr lvl="1" indent="0" algn="l">
              <a:spcBef>
                <a:spcPts val="1600"/>
              </a:spcBef>
              <a:buClr>
                <a:srgbClr val="89BA17"/>
              </a:buClr>
            </a:pPr>
            <a:endParaRPr lang="en-US" sz="1600" dirty="0">
              <a:solidFill>
                <a:schemeClr val="bg1"/>
              </a:solidFill>
              <a:cs typeface="Arial" pitchFamily="34" charset="0"/>
            </a:endParaRPr>
          </a:p>
          <a:p>
            <a:pPr lvl="1" indent="0" algn="l">
              <a:spcBef>
                <a:spcPts val="1600"/>
              </a:spcBef>
              <a:buClr>
                <a:srgbClr val="89BA17"/>
              </a:buClr>
            </a:pPr>
            <a:endParaRPr lang="en-US" sz="1600" dirty="0">
              <a:solidFill>
                <a:schemeClr val="bg1"/>
              </a:solidFill>
              <a:cs typeface="Arial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2330" y="4667718"/>
            <a:ext cx="6433719" cy="1831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564310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5">
            <a:extLst/>
          </p:cNvPr>
          <p:cNvSpPr>
            <a:spLocks noGrp="1"/>
          </p:cNvSpPr>
          <p:nvPr>
            <p:ph type="title"/>
          </p:nvPr>
        </p:nvSpPr>
        <p:spPr>
          <a:xfrm>
            <a:off x="1785820" y="129682"/>
            <a:ext cx="8353425" cy="1081088"/>
          </a:xfrm>
        </p:spPr>
        <p:txBody>
          <a:bodyPr/>
          <a:lstStyle/>
          <a:p>
            <a:pPr algn="ctr"/>
            <a:r>
              <a:rPr lang="en-US" sz="4400" dirty="0">
                <a:solidFill>
                  <a:schemeClr val="bg1"/>
                </a:solidFill>
              </a:rPr>
              <a:t>Required Python Changes for Output</a:t>
            </a:r>
            <a:endParaRPr lang="sv-SE" sz="44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0"/>
            <a:ext cx="12192000" cy="6857999"/>
          </a:xfrm>
          <a:prstGeom prst="rect">
            <a:avLst/>
          </a:prstGeom>
          <a:solidFill>
            <a:srgbClr val="002060"/>
          </a:solidFill>
          <a:ln>
            <a:noFill/>
          </a:ln>
          <a:effectLst/>
          <a:extLst/>
        </p:spPr>
        <p:txBody>
          <a:bodyPr wrap="none" anchor="ctr"/>
          <a:lstStyle/>
          <a:p>
            <a:pPr algn="l">
              <a:spcBef>
                <a:spcPts val="1600"/>
              </a:spcBef>
              <a:buClr>
                <a:srgbClr val="89BA17"/>
              </a:buClr>
            </a:pPr>
            <a:endParaRPr lang="en-US" sz="1600" dirty="0">
              <a:solidFill>
                <a:schemeClr val="bg1"/>
              </a:solidFill>
              <a:cs typeface="Arial" pitchFamily="34" charset="0"/>
            </a:endParaRPr>
          </a:p>
        </p:txBody>
      </p:sp>
      <p:pic>
        <p:nvPicPr>
          <p:cNvPr id="9" name="Picture 11">
            <a:extLst/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22391" y="476250"/>
            <a:ext cx="190184" cy="256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5">
            <a:extLst/>
          </p:cNvPr>
          <p:cNvSpPr txBox="1">
            <a:spLocks/>
          </p:cNvSpPr>
          <p:nvPr/>
        </p:nvSpPr>
        <p:spPr bwMode="auto">
          <a:xfrm>
            <a:off x="1938220" y="282082"/>
            <a:ext cx="8353425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lnSpc>
                <a:spcPct val="85000"/>
              </a:lnSpc>
              <a:spcBef>
                <a:spcPts val="300"/>
              </a:spcBef>
              <a:spcAft>
                <a:spcPct val="0"/>
              </a:spcAft>
              <a:defRPr sz="4000" kern="1400" spc="-16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Ericsson Hilda" pitchFamily="2" charset="0"/>
              </a:defRPr>
            </a:lvl2pPr>
            <a:lvl3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Ericsson Hilda" pitchFamily="2" charset="0"/>
              </a:defRPr>
            </a:lvl3pPr>
            <a:lvl4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Ericsson Hilda" pitchFamily="2" charset="0"/>
              </a:defRPr>
            </a:lvl4pPr>
            <a:lvl5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Ericsson Hilda" pitchFamily="2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Hilda" pitchFamily="2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Hilda" pitchFamily="2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Hilda" pitchFamily="2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Hilda" pitchFamily="2" charset="0"/>
              </a:defRPr>
            </a:lvl9pPr>
          </a:lstStyle>
          <a:p>
            <a:pPr algn="ctr"/>
            <a:r>
              <a:rPr lang="en-US" sz="4400" dirty="0">
                <a:solidFill>
                  <a:schemeClr val="bg1"/>
                </a:solidFill>
              </a:rPr>
              <a:t>Required Changes for Java</a:t>
            </a:r>
            <a:endParaRPr lang="sv-SE" sz="4400" dirty="0">
              <a:solidFill>
                <a:schemeClr val="bg1"/>
              </a:solidFill>
            </a:endParaRPr>
          </a:p>
        </p:txBody>
      </p:sp>
      <p:sp>
        <p:nvSpPr>
          <p:cNvPr id="7" name="Text Box 1"/>
          <p:cNvSpPr txBox="1">
            <a:spLocks noChangeArrowheads="1"/>
          </p:cNvSpPr>
          <p:nvPr/>
        </p:nvSpPr>
        <p:spPr bwMode="auto">
          <a:xfrm>
            <a:off x="186605" y="1036560"/>
            <a:ext cx="11335786" cy="12173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72000" tIns="0" rIns="72000" bIns="0" anchor="ctr"/>
          <a:lstStyle>
            <a:lvl1pPr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285750" indent="-285750" algn="l">
              <a:spcBef>
                <a:spcPts val="1600"/>
              </a:spcBef>
              <a:buClr>
                <a:srgbClr val="89BA17"/>
              </a:buClr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bg1"/>
                </a:solidFill>
                <a:cs typeface="Arial" pitchFamily="34" charset="0"/>
              </a:rPr>
              <a:t>BOT Store uses its set of defined jar files, before creating your final jar file, make sure you are using defined jar files.</a:t>
            </a:r>
          </a:p>
          <a:p>
            <a:pPr marL="285750" indent="-285750" algn="l">
              <a:spcBef>
                <a:spcPts val="1600"/>
              </a:spcBef>
              <a:buClr>
                <a:srgbClr val="89BA17"/>
              </a:buClr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bg1"/>
                </a:solidFill>
                <a:cs typeface="Arial" pitchFamily="34" charset="0"/>
              </a:rPr>
              <a:t>If you are using extra jar files or different version of Jar files, First you need to confirm from BOT Store Support Team.</a:t>
            </a:r>
          </a:p>
        </p:txBody>
      </p:sp>
      <p:graphicFrame>
        <p:nvGraphicFramePr>
          <p:cNvPr id="8" name="Object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73981561"/>
              </p:ext>
            </p:extLst>
          </p:nvPr>
        </p:nvGraphicFramePr>
        <p:xfrm>
          <a:off x="431467" y="2117648"/>
          <a:ext cx="2661247" cy="45720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Worksheet" r:id="rId5" imgW="3429059" imgH="11820391" progId="Excel.Sheet.12">
                  <p:embed/>
                </p:oleObj>
              </mc:Choice>
              <mc:Fallback>
                <p:oleObj name="Worksheet" r:id="rId5" imgW="3429059" imgH="11820391" progId="Excel.Sheet.12">
                  <p:embed/>
                  <p:pic>
                    <p:nvPicPr>
                      <p:cNvPr id="2" name="Object 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431467" y="2117648"/>
                        <a:ext cx="2661247" cy="4572067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88458188"/>
              </p:ext>
            </p:extLst>
          </p:nvPr>
        </p:nvGraphicFramePr>
        <p:xfrm>
          <a:off x="6572244" y="3008422"/>
          <a:ext cx="2140226" cy="18058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" name="Worksheet" showAsIcon="1" r:id="rId7" imgW="914400" imgH="771480" progId="Excel.Sheet.12">
                  <p:embed/>
                </p:oleObj>
              </mc:Choice>
              <mc:Fallback>
                <p:oleObj name="Worksheet" showAsIcon="1" r:id="rId7" imgW="914400" imgH="771480" progId="Excel.Sheet.12">
                  <p:embed/>
                  <p:pic>
                    <p:nvPicPr>
                      <p:cNvPr id="3" name="Object 2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6572244" y="3008422"/>
                        <a:ext cx="2140226" cy="18058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7395424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5">
            <a:extLst/>
          </p:cNvPr>
          <p:cNvSpPr>
            <a:spLocks noGrp="1"/>
          </p:cNvSpPr>
          <p:nvPr>
            <p:ph type="title"/>
          </p:nvPr>
        </p:nvSpPr>
        <p:spPr>
          <a:xfrm>
            <a:off x="1785820" y="129682"/>
            <a:ext cx="8353425" cy="1081088"/>
          </a:xfrm>
        </p:spPr>
        <p:txBody>
          <a:bodyPr/>
          <a:lstStyle/>
          <a:p>
            <a:pPr algn="ctr"/>
            <a:r>
              <a:rPr lang="en-US" sz="4400" dirty="0">
                <a:solidFill>
                  <a:schemeClr val="bg1"/>
                </a:solidFill>
              </a:rPr>
              <a:t>Required Python Changes for Output</a:t>
            </a:r>
            <a:endParaRPr lang="sv-SE" sz="44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0"/>
            <a:ext cx="12192000" cy="6857999"/>
          </a:xfrm>
          <a:prstGeom prst="rect">
            <a:avLst/>
          </a:prstGeom>
          <a:solidFill>
            <a:srgbClr val="002060"/>
          </a:solidFill>
          <a:ln>
            <a:noFill/>
          </a:ln>
          <a:effectLst/>
          <a:extLst/>
        </p:spPr>
        <p:txBody>
          <a:bodyPr wrap="none" anchor="ctr"/>
          <a:lstStyle/>
          <a:p>
            <a:pPr algn="l">
              <a:spcBef>
                <a:spcPts val="1600"/>
              </a:spcBef>
              <a:buClr>
                <a:srgbClr val="89BA17"/>
              </a:buClr>
            </a:pPr>
            <a:endParaRPr lang="en-US" sz="1600" dirty="0">
              <a:solidFill>
                <a:schemeClr val="bg1"/>
              </a:solidFill>
              <a:cs typeface="Arial" pitchFamily="34" charset="0"/>
            </a:endParaRPr>
          </a:p>
        </p:txBody>
      </p:sp>
      <p:pic>
        <p:nvPicPr>
          <p:cNvPr id="9" name="Picture 11">
            <a:extLst/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22391" y="476250"/>
            <a:ext cx="190184" cy="256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5">
            <a:extLst/>
          </p:cNvPr>
          <p:cNvSpPr txBox="1">
            <a:spLocks/>
          </p:cNvSpPr>
          <p:nvPr/>
        </p:nvSpPr>
        <p:spPr bwMode="auto">
          <a:xfrm>
            <a:off x="1938220" y="282082"/>
            <a:ext cx="8353425" cy="8292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lnSpc>
                <a:spcPct val="85000"/>
              </a:lnSpc>
              <a:spcBef>
                <a:spcPts val="300"/>
              </a:spcBef>
              <a:spcAft>
                <a:spcPct val="0"/>
              </a:spcAft>
              <a:defRPr sz="4000" kern="1400" spc="-16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Ericsson Hilda" pitchFamily="2" charset="0"/>
              </a:defRPr>
            </a:lvl2pPr>
            <a:lvl3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Ericsson Hilda" pitchFamily="2" charset="0"/>
              </a:defRPr>
            </a:lvl3pPr>
            <a:lvl4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Ericsson Hilda" pitchFamily="2" charset="0"/>
              </a:defRPr>
            </a:lvl4pPr>
            <a:lvl5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Ericsson Hilda" pitchFamily="2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Hilda" pitchFamily="2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Hilda" pitchFamily="2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Hilda" pitchFamily="2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Hilda" pitchFamily="2" charset="0"/>
              </a:defRPr>
            </a:lvl9pPr>
          </a:lstStyle>
          <a:p>
            <a:pPr algn="ctr"/>
            <a:r>
              <a:rPr lang="en-US" sz="4400" dirty="0">
                <a:solidFill>
                  <a:schemeClr val="bg1"/>
                </a:solidFill>
              </a:rPr>
              <a:t>Required Changes for Java</a:t>
            </a:r>
            <a:endParaRPr lang="sv-SE" sz="4400" dirty="0">
              <a:solidFill>
                <a:schemeClr val="bg1"/>
              </a:solidFill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488982" y="1080644"/>
            <a:ext cx="11243473" cy="5418632"/>
            <a:chOff x="151358" y="939965"/>
            <a:chExt cx="8714306" cy="4729275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96457" y="939965"/>
              <a:ext cx="8569207" cy="3711548"/>
            </a:xfrm>
            <a:prstGeom prst="rect">
              <a:avLst/>
            </a:prstGeom>
          </p:spPr>
        </p:pic>
        <p:cxnSp>
          <p:nvCxnSpPr>
            <p:cNvPr id="10" name="Straight Arrow Connector 9"/>
            <p:cNvCxnSpPr/>
            <p:nvPr/>
          </p:nvCxnSpPr>
          <p:spPr bwMode="auto">
            <a:xfrm>
              <a:off x="1205948" y="1414291"/>
              <a:ext cx="675861" cy="3674544"/>
            </a:xfrm>
            <a:prstGeom prst="straightConnector1">
              <a:avLst/>
            </a:prstGeom>
            <a:solidFill>
              <a:schemeClr val="accent1"/>
            </a:solidFill>
            <a:ln w="25400" cap="flat" cmpd="sng" algn="ctr">
              <a:solidFill>
                <a:srgbClr val="FF0000"/>
              </a:solidFill>
              <a:prstDash val="solid"/>
              <a:round/>
              <a:headEnd type="triangle" w="med" len="lg"/>
              <a:tailEnd type="none"/>
            </a:ln>
            <a:effectLst/>
          </p:spPr>
        </p:cxnSp>
        <p:sp>
          <p:nvSpPr>
            <p:cNvPr id="11" name="TextBox 10"/>
            <p:cNvSpPr txBox="1"/>
            <p:nvPr/>
          </p:nvSpPr>
          <p:spPr>
            <a:xfrm>
              <a:off x="151358" y="4996043"/>
              <a:ext cx="326563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>
                  <a:highlight>
                    <a:srgbClr val="FFFFFF"/>
                  </a:highlight>
                </a:rPr>
                <a:t>Package Name : </a:t>
              </a:r>
              <a:r>
                <a:rPr lang="en-US" sz="1200" dirty="0" err="1">
                  <a:highlight>
                    <a:srgbClr val="FFFFFF"/>
                  </a:highlight>
                </a:rPr>
                <a:t>com.erricson.softhuman.rpa</a:t>
              </a:r>
              <a:endParaRPr lang="en-US" sz="1200" dirty="0">
                <a:highlight>
                  <a:srgbClr val="FFFFFF"/>
                </a:highlight>
              </a:endParaRPr>
            </a:p>
          </p:txBody>
        </p:sp>
        <p:cxnSp>
          <p:nvCxnSpPr>
            <p:cNvPr id="12" name="Straight Arrow Connector 11"/>
            <p:cNvCxnSpPr/>
            <p:nvPr/>
          </p:nvCxnSpPr>
          <p:spPr bwMode="auto">
            <a:xfrm>
              <a:off x="5493030" y="1354659"/>
              <a:ext cx="675861" cy="3674544"/>
            </a:xfrm>
            <a:prstGeom prst="straightConnector1">
              <a:avLst/>
            </a:prstGeom>
            <a:solidFill>
              <a:schemeClr val="accent1"/>
            </a:solidFill>
            <a:ln w="25400" cap="flat" cmpd="sng" algn="ctr">
              <a:solidFill>
                <a:srgbClr val="FF0000"/>
              </a:solidFill>
              <a:prstDash val="solid"/>
              <a:round/>
              <a:headEnd type="triangle" w="med" len="lg"/>
              <a:tailEnd type="none"/>
            </a:ln>
            <a:effectLst/>
          </p:spPr>
        </p:cxnSp>
        <p:sp>
          <p:nvSpPr>
            <p:cNvPr id="13" name="TextBox 12"/>
            <p:cNvSpPr txBox="1"/>
            <p:nvPr/>
          </p:nvSpPr>
          <p:spPr>
            <a:xfrm>
              <a:off x="5110741" y="4938886"/>
              <a:ext cx="262283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>
                  <a:highlight>
                    <a:srgbClr val="FFFFFF"/>
                  </a:highlight>
                </a:rPr>
                <a:t>Should Not Contains Main() Method</a:t>
              </a:r>
            </a:p>
          </p:txBody>
        </p:sp>
        <p:cxnSp>
          <p:nvCxnSpPr>
            <p:cNvPr id="14" name="Straight Arrow Connector 13"/>
            <p:cNvCxnSpPr>
              <a:cxnSpLocks/>
            </p:cNvCxnSpPr>
            <p:nvPr/>
          </p:nvCxnSpPr>
          <p:spPr bwMode="auto">
            <a:xfrm flipH="1">
              <a:off x="4094930" y="4083139"/>
              <a:ext cx="400525" cy="1390009"/>
            </a:xfrm>
            <a:prstGeom prst="straightConnector1">
              <a:avLst/>
            </a:prstGeom>
            <a:solidFill>
              <a:schemeClr val="accent1"/>
            </a:solidFill>
            <a:ln w="25400" cap="flat" cmpd="sng" algn="ctr">
              <a:solidFill>
                <a:srgbClr val="FF0000"/>
              </a:solidFill>
              <a:prstDash val="solid"/>
              <a:round/>
              <a:headEnd type="triangle" w="med" len="lg"/>
              <a:tailEnd type="none"/>
            </a:ln>
            <a:effectLst/>
          </p:spPr>
        </p:cxnSp>
        <p:sp>
          <p:nvSpPr>
            <p:cNvPr id="15" name="TextBox 14"/>
            <p:cNvSpPr txBox="1"/>
            <p:nvPr/>
          </p:nvSpPr>
          <p:spPr>
            <a:xfrm>
              <a:off x="2133930" y="5392241"/>
              <a:ext cx="434798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>
                  <a:highlight>
                    <a:srgbClr val="FFFFFF"/>
                  </a:highlight>
                </a:rPr>
                <a:t>Your </a:t>
              </a:r>
              <a:r>
                <a:rPr lang="en-US" sz="1200" dirty="0" err="1">
                  <a:highlight>
                    <a:srgbClr val="FFFFFF"/>
                  </a:highlight>
                </a:rPr>
                <a:t>doProcess</a:t>
              </a:r>
              <a:r>
                <a:rPr lang="en-US" sz="1200" dirty="0">
                  <a:highlight>
                    <a:srgbClr val="FFFFFF"/>
                  </a:highlight>
                </a:rPr>
                <a:t> Method signature should be as shown abov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3384025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5">
            <a:extLst/>
          </p:cNvPr>
          <p:cNvSpPr>
            <a:spLocks noGrp="1"/>
          </p:cNvSpPr>
          <p:nvPr>
            <p:ph type="title"/>
          </p:nvPr>
        </p:nvSpPr>
        <p:spPr>
          <a:xfrm>
            <a:off x="1785820" y="129682"/>
            <a:ext cx="8353425" cy="1081088"/>
          </a:xfrm>
        </p:spPr>
        <p:txBody>
          <a:bodyPr/>
          <a:lstStyle/>
          <a:p>
            <a:pPr algn="ctr"/>
            <a:r>
              <a:rPr lang="en-US" sz="4400" dirty="0">
                <a:solidFill>
                  <a:schemeClr val="bg1"/>
                </a:solidFill>
              </a:rPr>
              <a:t>Required Python Changes for Output</a:t>
            </a:r>
            <a:endParaRPr lang="sv-SE" sz="44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0"/>
            <a:ext cx="12192000" cy="6857999"/>
          </a:xfrm>
          <a:prstGeom prst="rect">
            <a:avLst/>
          </a:prstGeom>
          <a:solidFill>
            <a:srgbClr val="002060"/>
          </a:solidFill>
          <a:ln>
            <a:noFill/>
          </a:ln>
          <a:effectLst/>
          <a:extLst/>
        </p:spPr>
        <p:txBody>
          <a:bodyPr wrap="none" anchor="ctr"/>
          <a:lstStyle/>
          <a:p>
            <a:pPr algn="l">
              <a:spcBef>
                <a:spcPts val="1600"/>
              </a:spcBef>
              <a:buClr>
                <a:srgbClr val="89BA17"/>
              </a:buClr>
            </a:pPr>
            <a:endParaRPr lang="en-US" sz="1600" dirty="0">
              <a:solidFill>
                <a:schemeClr val="bg1"/>
              </a:solidFill>
              <a:cs typeface="Arial" pitchFamily="34" charset="0"/>
            </a:endParaRPr>
          </a:p>
        </p:txBody>
      </p:sp>
      <p:pic>
        <p:nvPicPr>
          <p:cNvPr id="9" name="Picture 11">
            <a:extLst/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22391" y="476250"/>
            <a:ext cx="190184" cy="256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5">
            <a:extLst/>
          </p:cNvPr>
          <p:cNvSpPr txBox="1">
            <a:spLocks/>
          </p:cNvSpPr>
          <p:nvPr/>
        </p:nvSpPr>
        <p:spPr bwMode="auto">
          <a:xfrm>
            <a:off x="675250" y="282082"/>
            <a:ext cx="9616396" cy="7485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lnSpc>
                <a:spcPct val="85000"/>
              </a:lnSpc>
              <a:spcBef>
                <a:spcPts val="300"/>
              </a:spcBef>
              <a:spcAft>
                <a:spcPct val="0"/>
              </a:spcAft>
              <a:defRPr sz="4000" kern="1400" spc="-16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Ericsson Hilda" pitchFamily="2" charset="0"/>
              </a:defRPr>
            </a:lvl2pPr>
            <a:lvl3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Ericsson Hilda" pitchFamily="2" charset="0"/>
              </a:defRPr>
            </a:lvl3pPr>
            <a:lvl4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Ericsson Hilda" pitchFamily="2" charset="0"/>
              </a:defRPr>
            </a:lvl4pPr>
            <a:lvl5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Ericsson Hilda" pitchFamily="2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Hilda" pitchFamily="2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Hilda" pitchFamily="2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Hilda" pitchFamily="2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Hilda" pitchFamily="2" charset="0"/>
              </a:defRPr>
            </a:lvl9pPr>
          </a:lstStyle>
          <a:p>
            <a:pPr algn="ctr"/>
            <a:r>
              <a:rPr lang="en-US" sz="4400" dirty="0">
                <a:solidFill>
                  <a:schemeClr val="bg1"/>
                </a:solidFill>
              </a:rPr>
              <a:t>Required Java Changes for Input / Output</a:t>
            </a:r>
            <a:endParaRPr lang="sv-SE" sz="4400" dirty="0">
              <a:solidFill>
                <a:schemeClr val="bg1"/>
              </a:solidFill>
            </a:endParaRPr>
          </a:p>
        </p:txBody>
      </p:sp>
      <p:sp>
        <p:nvSpPr>
          <p:cNvPr id="7" name="Text Box 1"/>
          <p:cNvSpPr txBox="1">
            <a:spLocks noChangeArrowheads="1"/>
          </p:cNvSpPr>
          <p:nvPr/>
        </p:nvSpPr>
        <p:spPr bwMode="auto">
          <a:xfrm>
            <a:off x="145737" y="900036"/>
            <a:ext cx="8727219" cy="5928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72000" tIns="0" rIns="72000" bIns="0" anchor="ctr"/>
          <a:lstStyle>
            <a:lvl1pPr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285750" indent="-285750" algn="l">
              <a:spcBef>
                <a:spcPts val="1600"/>
              </a:spcBef>
              <a:buClr>
                <a:srgbClr val="89BA17"/>
              </a:buClr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bg1"/>
                </a:solidFill>
                <a:cs typeface="Arial" pitchFamily="34" charset="0"/>
              </a:rPr>
              <a:t>Need to remove all hardcode Input and Output Paths from your code.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26951" y="1450849"/>
            <a:ext cx="10391103" cy="3645570"/>
            <a:chOff x="426952" y="1450849"/>
            <a:chExt cx="8446004" cy="3598229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26952" y="1450849"/>
              <a:ext cx="8446004" cy="3598229"/>
            </a:xfrm>
            <a:prstGeom prst="rect">
              <a:avLst/>
            </a:prstGeom>
          </p:spPr>
        </p:pic>
        <p:sp>
          <p:nvSpPr>
            <p:cNvPr id="11" name="Rectangle 10"/>
            <p:cNvSpPr/>
            <p:nvPr/>
          </p:nvSpPr>
          <p:spPr bwMode="auto">
            <a:xfrm>
              <a:off x="3058775" y="1472624"/>
              <a:ext cx="3439006" cy="288698"/>
            </a:xfrm>
            <a:prstGeom prst="rect">
              <a:avLst/>
            </a:prstGeom>
            <a:noFill/>
            <a:ln w="38100" cap="flat" cmpd="sng" algn="ctr">
              <a:solidFill>
                <a:srgbClr val="00B05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45720" rIns="7200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12" name="TextBox 11"/>
          <p:cNvSpPr txBox="1"/>
          <p:nvPr/>
        </p:nvSpPr>
        <p:spPr>
          <a:xfrm>
            <a:off x="200121" y="5280025"/>
            <a:ext cx="8388625" cy="14875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600"/>
              </a:spcBef>
              <a:buClr>
                <a:srgbClr val="89BA17"/>
              </a:buClr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bg1"/>
                </a:solidFill>
                <a:cs typeface="Arial" pitchFamily="34" charset="0"/>
              </a:rPr>
              <a:t>As shown in above images, please changes your hard coded path accordingly. And make changes in your complete code to remove hard coded path for input and output path.</a:t>
            </a:r>
          </a:p>
          <a:p>
            <a:pPr marL="285750" indent="-285750" algn="l">
              <a:spcBef>
                <a:spcPts val="1600"/>
              </a:spcBef>
              <a:buClr>
                <a:srgbClr val="89BA17"/>
              </a:buClr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bg1"/>
                </a:solidFill>
                <a:cs typeface="Arial" pitchFamily="34" charset="0"/>
              </a:rPr>
              <a:t>Return Type int. In case of any error return value should be -1.</a:t>
            </a:r>
          </a:p>
          <a:p>
            <a:pPr marL="285750" indent="-285750" algn="l">
              <a:spcBef>
                <a:spcPts val="1600"/>
              </a:spcBef>
              <a:buClr>
                <a:srgbClr val="89BA17"/>
              </a:buClr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bg1"/>
                </a:solidFill>
                <a:cs typeface="Arial" pitchFamily="34" charset="0"/>
              </a:rPr>
              <a:t>Save all output file using OUTPATH variab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7877445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5">
            <a:extLst/>
          </p:cNvPr>
          <p:cNvSpPr>
            <a:spLocks noGrp="1"/>
          </p:cNvSpPr>
          <p:nvPr>
            <p:ph type="title"/>
          </p:nvPr>
        </p:nvSpPr>
        <p:spPr>
          <a:xfrm>
            <a:off x="1785820" y="129682"/>
            <a:ext cx="8353425" cy="1081088"/>
          </a:xfrm>
        </p:spPr>
        <p:txBody>
          <a:bodyPr/>
          <a:lstStyle/>
          <a:p>
            <a:pPr algn="ctr"/>
            <a:r>
              <a:rPr lang="en-US" sz="4400" dirty="0">
                <a:solidFill>
                  <a:schemeClr val="bg1"/>
                </a:solidFill>
              </a:rPr>
              <a:t>Required Python Changes for Output</a:t>
            </a:r>
            <a:endParaRPr lang="sv-SE" sz="44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0"/>
            <a:ext cx="12192000" cy="6857999"/>
          </a:xfrm>
          <a:prstGeom prst="rect">
            <a:avLst/>
          </a:prstGeom>
          <a:solidFill>
            <a:srgbClr val="002060"/>
          </a:solidFill>
          <a:ln>
            <a:noFill/>
          </a:ln>
          <a:effectLst/>
          <a:extLst/>
        </p:spPr>
        <p:txBody>
          <a:bodyPr wrap="none" anchor="ctr"/>
          <a:lstStyle/>
          <a:p>
            <a:pPr algn="l">
              <a:spcBef>
                <a:spcPts val="1600"/>
              </a:spcBef>
              <a:buClr>
                <a:srgbClr val="89BA17"/>
              </a:buClr>
            </a:pPr>
            <a:endParaRPr lang="en-US" sz="1600" dirty="0">
              <a:solidFill>
                <a:schemeClr val="bg1"/>
              </a:solidFill>
              <a:cs typeface="Arial" pitchFamily="34" charset="0"/>
            </a:endParaRPr>
          </a:p>
        </p:txBody>
      </p:sp>
      <p:pic>
        <p:nvPicPr>
          <p:cNvPr id="9" name="Picture 11">
            <a:extLst/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22391" y="476250"/>
            <a:ext cx="190184" cy="256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5">
            <a:extLst/>
          </p:cNvPr>
          <p:cNvSpPr txBox="1">
            <a:spLocks/>
          </p:cNvSpPr>
          <p:nvPr/>
        </p:nvSpPr>
        <p:spPr bwMode="auto">
          <a:xfrm>
            <a:off x="675250" y="282082"/>
            <a:ext cx="9616396" cy="7485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lnSpc>
                <a:spcPct val="85000"/>
              </a:lnSpc>
              <a:spcBef>
                <a:spcPts val="300"/>
              </a:spcBef>
              <a:spcAft>
                <a:spcPct val="0"/>
              </a:spcAft>
              <a:defRPr sz="4000" kern="1400" spc="-16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Ericsson Hilda" pitchFamily="2" charset="0"/>
              </a:defRPr>
            </a:lvl2pPr>
            <a:lvl3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Ericsson Hilda" pitchFamily="2" charset="0"/>
              </a:defRPr>
            </a:lvl3pPr>
            <a:lvl4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Ericsson Hilda" pitchFamily="2" charset="0"/>
              </a:defRPr>
            </a:lvl4pPr>
            <a:lvl5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Ericsson Hilda" pitchFamily="2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Hilda" pitchFamily="2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Hilda" pitchFamily="2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Hilda" pitchFamily="2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Hilda" pitchFamily="2" charset="0"/>
              </a:defRPr>
            </a:lvl9pPr>
          </a:lstStyle>
          <a:p>
            <a:pPr algn="ctr"/>
            <a:r>
              <a:rPr lang="en-US" sz="4400" dirty="0">
                <a:solidFill>
                  <a:schemeClr val="bg1"/>
                </a:solidFill>
              </a:rPr>
              <a:t>Required Java Changes for Jar Creation</a:t>
            </a:r>
            <a:endParaRPr lang="sv-SE" sz="4400" dirty="0">
              <a:solidFill>
                <a:schemeClr val="bg1"/>
              </a:solidFill>
            </a:endParaRPr>
          </a:p>
        </p:txBody>
      </p:sp>
      <p:sp>
        <p:nvSpPr>
          <p:cNvPr id="7" name="Text Box 1"/>
          <p:cNvSpPr txBox="1">
            <a:spLocks noChangeArrowheads="1"/>
          </p:cNvSpPr>
          <p:nvPr/>
        </p:nvSpPr>
        <p:spPr bwMode="auto">
          <a:xfrm>
            <a:off x="145737" y="900037"/>
            <a:ext cx="8727219" cy="4631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72000" tIns="0" rIns="72000" bIns="0" anchor="ctr"/>
          <a:lstStyle>
            <a:lvl1pPr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285750" indent="-285750" algn="l">
              <a:spcBef>
                <a:spcPts val="1600"/>
              </a:spcBef>
              <a:buClr>
                <a:srgbClr val="89BA17"/>
              </a:buClr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bg1"/>
                </a:solidFill>
                <a:cs typeface="Arial" pitchFamily="34" charset="0"/>
              </a:rPr>
              <a:t>Now after above changes, you have to create jar file, using following steps: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90910" y="1414292"/>
            <a:ext cx="10594432" cy="4581520"/>
            <a:chOff x="490910" y="1414291"/>
            <a:chExt cx="7585106" cy="4581521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90910" y="1414291"/>
              <a:ext cx="7585106" cy="3692779"/>
            </a:xfrm>
            <a:prstGeom prst="rect">
              <a:avLst/>
            </a:prstGeom>
          </p:spPr>
        </p:pic>
        <p:cxnSp>
          <p:nvCxnSpPr>
            <p:cNvPr id="11" name="Straight Arrow Connector 10"/>
            <p:cNvCxnSpPr>
              <a:cxnSpLocks/>
            </p:cNvCxnSpPr>
            <p:nvPr/>
          </p:nvCxnSpPr>
          <p:spPr bwMode="auto">
            <a:xfrm>
              <a:off x="1470991" y="2809461"/>
              <a:ext cx="79514" cy="2707135"/>
            </a:xfrm>
            <a:prstGeom prst="straightConnector1">
              <a:avLst/>
            </a:prstGeom>
            <a:solidFill>
              <a:schemeClr val="accent1"/>
            </a:solidFill>
            <a:ln w="25400" cap="flat" cmpd="sng" algn="ctr">
              <a:solidFill>
                <a:srgbClr val="FF0000"/>
              </a:solidFill>
              <a:prstDash val="solid"/>
              <a:round/>
              <a:headEnd type="triangle" w="med" len="lg"/>
              <a:tailEnd type="none"/>
            </a:ln>
            <a:effectLst/>
          </p:spPr>
        </p:cxnSp>
        <p:sp>
          <p:nvSpPr>
            <p:cNvPr id="12" name="Oval 11"/>
            <p:cNvSpPr/>
            <p:nvPr/>
          </p:nvSpPr>
          <p:spPr bwMode="auto">
            <a:xfrm>
              <a:off x="755374" y="2620996"/>
              <a:ext cx="1828800" cy="188465"/>
            </a:xfrm>
            <a:prstGeom prst="ellipse">
              <a:avLst/>
            </a:prstGeom>
            <a:noFill/>
            <a:ln w="2540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45720" rIns="7200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3" name="Oval 12"/>
            <p:cNvSpPr/>
            <p:nvPr/>
          </p:nvSpPr>
          <p:spPr bwMode="auto">
            <a:xfrm>
              <a:off x="2492398" y="4257640"/>
              <a:ext cx="1390489" cy="195090"/>
            </a:xfrm>
            <a:prstGeom prst="ellipse">
              <a:avLst/>
            </a:prstGeom>
            <a:noFill/>
            <a:ln w="2540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45720" rIns="7200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14" name="Straight Arrow Connector 13"/>
            <p:cNvCxnSpPr>
              <a:cxnSpLocks/>
            </p:cNvCxnSpPr>
            <p:nvPr/>
          </p:nvCxnSpPr>
          <p:spPr bwMode="auto">
            <a:xfrm>
              <a:off x="3784462" y="4414237"/>
              <a:ext cx="566932" cy="1320512"/>
            </a:xfrm>
            <a:prstGeom prst="straightConnector1">
              <a:avLst/>
            </a:prstGeom>
            <a:solidFill>
              <a:schemeClr val="accent1"/>
            </a:solidFill>
            <a:ln w="25400" cap="flat" cmpd="sng" algn="ctr">
              <a:solidFill>
                <a:srgbClr val="FF0000"/>
              </a:solidFill>
              <a:prstDash val="solid"/>
              <a:round/>
              <a:headEnd type="triangle" w="med" len="lg"/>
              <a:tailEnd type="none"/>
            </a:ln>
            <a:effectLst/>
          </p:spPr>
        </p:cxnSp>
        <p:sp>
          <p:nvSpPr>
            <p:cNvPr id="15" name="TextBox 14"/>
            <p:cNvSpPr txBox="1"/>
            <p:nvPr/>
          </p:nvSpPr>
          <p:spPr>
            <a:xfrm>
              <a:off x="1154791" y="5457750"/>
              <a:ext cx="79142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highlight>
                    <a:srgbClr val="FFFFFF"/>
                  </a:highlight>
                </a:rPr>
                <a:t>Step 1</a:t>
              </a: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3955680" y="5688035"/>
              <a:ext cx="79142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highlight>
                    <a:srgbClr val="FFFFFF"/>
                  </a:highlight>
                </a:rPr>
                <a:t>Step 2</a:t>
              </a:r>
            </a:p>
          </p:txBody>
        </p:sp>
      </p:grpSp>
      <p:sp>
        <p:nvSpPr>
          <p:cNvPr id="17" name="TextBox 16"/>
          <p:cNvSpPr txBox="1"/>
          <p:nvPr/>
        </p:nvSpPr>
        <p:spPr>
          <a:xfrm>
            <a:off x="284432" y="6066152"/>
            <a:ext cx="756699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bg1"/>
                </a:solidFill>
              </a:rPr>
              <a:t>Step 1: Right click on specified folder, not on main project.</a:t>
            </a:r>
          </a:p>
          <a:p>
            <a:pPr marL="285750" indent="-285750" algn="l"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bg1"/>
                </a:solidFill>
              </a:rPr>
              <a:t>Step 2: Click on Export option on menu.</a:t>
            </a:r>
          </a:p>
        </p:txBody>
      </p:sp>
    </p:spTree>
    <p:extLst>
      <p:ext uri="{BB962C8B-B14F-4D97-AF65-F5344CB8AC3E}">
        <p14:creationId xmlns:p14="http://schemas.microsoft.com/office/powerpoint/2010/main" val="35559050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A5D622B-A492-4494-872F-86FEB509D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107950"/>
            <a:ext cx="10793178" cy="501650"/>
          </a:xfrm>
        </p:spPr>
        <p:txBody>
          <a:bodyPr/>
          <a:lstStyle/>
          <a:p>
            <a:pPr algn="ctr"/>
            <a:r>
              <a:rPr lang="sv-SE" sz="3600" dirty="0"/>
              <a:t>ISF BOT Creation Flow</a:t>
            </a:r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1021501005"/>
              </p:ext>
            </p:extLst>
          </p:nvPr>
        </p:nvGraphicFramePr>
        <p:xfrm>
          <a:off x="308131" y="719666"/>
          <a:ext cx="11698990" cy="178369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9" name="Straight Connector 8"/>
          <p:cNvCxnSpPr/>
          <p:nvPr/>
        </p:nvCxnSpPr>
        <p:spPr bwMode="auto">
          <a:xfrm>
            <a:off x="1933731" y="2038662"/>
            <a:ext cx="0" cy="3132945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 bwMode="auto">
          <a:xfrm>
            <a:off x="3570157" y="2038662"/>
            <a:ext cx="0" cy="3132945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 bwMode="auto">
          <a:xfrm>
            <a:off x="275654" y="2613423"/>
            <a:ext cx="1625600" cy="20984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1500"/>
              </a:spcBef>
              <a:buClr>
                <a:schemeClr val="tx1"/>
              </a:buClr>
            </a:pPr>
            <a:r>
              <a:rPr lang="en-US" sz="1200" dirty="0">
                <a:cs typeface="Arial" pitchFamily="34" charset="0"/>
              </a:rPr>
              <a:t>Java 1.8 64 Bit version (server version)</a:t>
            </a:r>
          </a:p>
          <a:p>
            <a:pPr>
              <a:spcBef>
                <a:spcPts val="1500"/>
              </a:spcBef>
              <a:buClr>
                <a:schemeClr val="tx1"/>
              </a:buClr>
            </a:pPr>
            <a:endParaRPr lang="en-US" sz="1200" dirty="0"/>
          </a:p>
          <a:p>
            <a:pPr>
              <a:spcBef>
                <a:spcPts val="1500"/>
              </a:spcBef>
              <a:buClr>
                <a:schemeClr val="tx1"/>
              </a:buClr>
            </a:pPr>
            <a:r>
              <a:rPr lang="en-US" sz="1200" dirty="0"/>
              <a:t>ISF Setup Install</a:t>
            </a:r>
          </a:p>
          <a:p>
            <a:pPr>
              <a:spcBef>
                <a:spcPts val="1500"/>
              </a:spcBef>
              <a:buClr>
                <a:schemeClr val="tx1"/>
              </a:buClr>
            </a:pPr>
            <a:endParaRPr lang="en-US" sz="1200" dirty="0"/>
          </a:p>
          <a:p>
            <a:pPr>
              <a:spcBef>
                <a:spcPts val="1500"/>
              </a:spcBef>
              <a:buClr>
                <a:schemeClr val="tx1"/>
              </a:buClr>
            </a:pPr>
            <a:r>
              <a:rPr lang="en-US" sz="1200" dirty="0"/>
              <a:t>Macro/Python Code change for ISF</a:t>
            </a:r>
          </a:p>
        </p:txBody>
      </p:sp>
      <p:sp>
        <p:nvSpPr>
          <p:cNvPr id="14" name="TextBox 13"/>
          <p:cNvSpPr txBox="1"/>
          <p:nvPr/>
        </p:nvSpPr>
        <p:spPr bwMode="auto">
          <a:xfrm>
            <a:off x="3593475" y="2523482"/>
            <a:ext cx="1525667" cy="5903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1500"/>
              </a:spcBef>
              <a:buClr>
                <a:schemeClr val="tx1"/>
              </a:buClr>
            </a:pPr>
            <a:r>
              <a:rPr lang="en-US" sz="1200" dirty="0"/>
              <a:t>“Creation” Option from BOT Store to be used</a:t>
            </a:r>
          </a:p>
        </p:txBody>
      </p:sp>
      <p:cxnSp>
        <p:nvCxnSpPr>
          <p:cNvPr id="17" name="Straight Connector 16"/>
          <p:cNvCxnSpPr/>
          <p:nvPr/>
        </p:nvCxnSpPr>
        <p:spPr bwMode="auto">
          <a:xfrm>
            <a:off x="5176603" y="2003844"/>
            <a:ext cx="0" cy="3132945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 bwMode="auto">
          <a:xfrm>
            <a:off x="6768059" y="2003843"/>
            <a:ext cx="0" cy="3132945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 bwMode="auto">
          <a:xfrm>
            <a:off x="8416977" y="2003842"/>
            <a:ext cx="0" cy="3132945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 bwMode="auto">
          <a:xfrm>
            <a:off x="10008433" y="2038662"/>
            <a:ext cx="0" cy="3132945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 bwMode="auto">
          <a:xfrm>
            <a:off x="1930817" y="2598432"/>
            <a:ext cx="1625600" cy="5903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1500"/>
              </a:spcBef>
              <a:buClr>
                <a:schemeClr val="tx1"/>
              </a:buClr>
            </a:pPr>
            <a:r>
              <a:rPr lang="en-US" sz="1200" dirty="0"/>
              <a:t>BOT request to be raised from WF Step to be automated</a:t>
            </a:r>
          </a:p>
        </p:txBody>
      </p:sp>
      <p:sp>
        <p:nvSpPr>
          <p:cNvPr id="22" name="TextBox 21"/>
          <p:cNvSpPr txBox="1"/>
          <p:nvPr/>
        </p:nvSpPr>
        <p:spPr bwMode="auto">
          <a:xfrm>
            <a:off x="5257382" y="2523482"/>
            <a:ext cx="1453215" cy="5903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1500"/>
              </a:spcBef>
              <a:buClr>
                <a:schemeClr val="tx1"/>
              </a:buClr>
            </a:pPr>
            <a:r>
              <a:rPr lang="en-US" sz="1200" dirty="0"/>
              <a:t>BOT to be tested from BOT Store window</a:t>
            </a:r>
          </a:p>
        </p:txBody>
      </p:sp>
      <p:sp>
        <p:nvSpPr>
          <p:cNvPr id="23" name="TextBox 22"/>
          <p:cNvSpPr txBox="1"/>
          <p:nvPr/>
        </p:nvSpPr>
        <p:spPr bwMode="auto">
          <a:xfrm>
            <a:off x="6880902" y="2523482"/>
            <a:ext cx="1453215" cy="7750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1500"/>
              </a:spcBef>
              <a:buClr>
                <a:schemeClr val="tx1"/>
              </a:buClr>
            </a:pPr>
            <a:r>
              <a:rPr lang="en-US" sz="1200" dirty="0"/>
              <a:t>Once test successful, BOT needs to be approved by WF owner in ISF</a:t>
            </a:r>
          </a:p>
        </p:txBody>
      </p:sp>
      <p:sp>
        <p:nvSpPr>
          <p:cNvPr id="24" name="TextBox 23"/>
          <p:cNvSpPr txBox="1"/>
          <p:nvPr/>
        </p:nvSpPr>
        <p:spPr bwMode="auto">
          <a:xfrm>
            <a:off x="8499838" y="2523482"/>
            <a:ext cx="1453215" cy="5903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1500"/>
              </a:spcBef>
              <a:buClr>
                <a:schemeClr val="tx1"/>
              </a:buClr>
            </a:pPr>
            <a:r>
              <a:rPr lang="en-US" sz="1200" dirty="0"/>
              <a:t>SP can deploy BOT in ISF after testing and approval is done</a:t>
            </a:r>
          </a:p>
        </p:txBody>
      </p:sp>
      <p:sp>
        <p:nvSpPr>
          <p:cNvPr id="25" name="TextBox 24"/>
          <p:cNvSpPr txBox="1"/>
          <p:nvPr/>
        </p:nvSpPr>
        <p:spPr bwMode="auto">
          <a:xfrm>
            <a:off x="10189145" y="2523482"/>
            <a:ext cx="1453215" cy="7750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1500"/>
              </a:spcBef>
              <a:buClr>
                <a:schemeClr val="tx1"/>
              </a:buClr>
            </a:pPr>
            <a:r>
              <a:rPr lang="en-US" sz="1200" dirty="0"/>
              <a:t>Once BOT id is created, it can be mapped to any WF step</a:t>
            </a:r>
          </a:p>
        </p:txBody>
      </p:sp>
      <p:sp>
        <p:nvSpPr>
          <p:cNvPr id="26" name="Text Box 1"/>
          <p:cNvSpPr txBox="1">
            <a:spLocks noChangeArrowheads="1"/>
          </p:cNvSpPr>
          <p:nvPr/>
        </p:nvSpPr>
        <p:spPr bwMode="auto">
          <a:xfrm>
            <a:off x="370042" y="5306517"/>
            <a:ext cx="11227893" cy="10959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72000" tIns="0" rIns="72000" bIns="0" anchor="ctr"/>
          <a:lstStyle>
            <a:lvl1pPr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ts val="1600"/>
              </a:spcBef>
              <a:buClr>
                <a:srgbClr val="89BA17"/>
              </a:buClr>
            </a:pPr>
            <a:r>
              <a:rPr lang="en-US" sz="1600" dirty="0">
                <a:latin typeface="+mj-lt"/>
                <a:cs typeface="Arial" pitchFamily="34" charset="0"/>
              </a:rPr>
              <a:t>Note: Once a BOT request has been raised for a manual step, ISF will not accept another BOT request for same step.</a:t>
            </a:r>
          </a:p>
          <a:p>
            <a:pPr>
              <a:spcBef>
                <a:spcPts val="1600"/>
              </a:spcBef>
              <a:buClr>
                <a:srgbClr val="89BA17"/>
              </a:buClr>
            </a:pPr>
            <a:r>
              <a:rPr lang="en-US" sz="1600" dirty="0">
                <a:latin typeface="+mj-lt"/>
                <a:cs typeface="Arial" pitchFamily="34" charset="0"/>
                <a:hlinkClick r:id="rId8"/>
              </a:rPr>
              <a:t>Detailed Flow with Snapshots</a:t>
            </a:r>
            <a:endParaRPr lang="en-US" sz="1600" dirty="0">
              <a:latin typeface="+mj-lt"/>
              <a:cs typeface="Arial" pitchFamily="34" charset="0"/>
            </a:endParaRPr>
          </a:p>
          <a:p>
            <a:pPr>
              <a:spcBef>
                <a:spcPts val="1600"/>
              </a:spcBef>
              <a:buClr>
                <a:srgbClr val="89BA17"/>
              </a:buClr>
            </a:pPr>
            <a:r>
              <a:rPr lang="en-US" sz="1600" dirty="0">
                <a:latin typeface="+mj-lt"/>
                <a:cs typeface="Arial" pitchFamily="34" charset="0"/>
                <a:hlinkClick r:id="rId9"/>
              </a:rPr>
              <a:t>ISF </a:t>
            </a:r>
            <a:r>
              <a:rPr lang="en-US" sz="1600" dirty="0" err="1">
                <a:latin typeface="+mj-lt"/>
                <a:cs typeface="Arial" pitchFamily="34" charset="0"/>
                <a:hlinkClick r:id="rId9"/>
              </a:rPr>
              <a:t>Sharepoint</a:t>
            </a:r>
            <a:r>
              <a:rPr lang="en-US" sz="1600" dirty="0">
                <a:latin typeface="+mj-lt"/>
                <a:cs typeface="Arial" pitchFamily="34" charset="0"/>
                <a:hlinkClick r:id="rId9"/>
              </a:rPr>
              <a:t> for Videos</a:t>
            </a:r>
            <a:endParaRPr lang="en-US" sz="1600" dirty="0">
              <a:latin typeface="+mj-lt"/>
              <a:cs typeface="Arial" pitchFamily="34" charset="0"/>
            </a:endParaRPr>
          </a:p>
        </p:txBody>
      </p:sp>
      <p:sp>
        <p:nvSpPr>
          <p:cNvPr id="2" name="TextBox 1"/>
          <p:cNvSpPr txBox="1"/>
          <p:nvPr/>
        </p:nvSpPr>
        <p:spPr bwMode="auto">
          <a:xfrm>
            <a:off x="4789995" y="2143592"/>
            <a:ext cx="773216" cy="25179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none" lIns="72000" tIns="3600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buClr>
                <a:schemeClr val="tx1"/>
              </a:buClr>
            </a:pPr>
            <a:r>
              <a:rPr lang="en-US" sz="1400" dirty="0">
                <a:solidFill>
                  <a:schemeClr val="accent1">
                    <a:lumMod val="50000"/>
                  </a:schemeClr>
                </a:solidFill>
              </a:rPr>
              <a:t>Assigned</a:t>
            </a:r>
          </a:p>
        </p:txBody>
      </p:sp>
      <p:sp>
        <p:nvSpPr>
          <p:cNvPr id="27" name="TextBox 26"/>
          <p:cNvSpPr txBox="1"/>
          <p:nvPr/>
        </p:nvSpPr>
        <p:spPr bwMode="auto">
          <a:xfrm>
            <a:off x="6453903" y="2170094"/>
            <a:ext cx="596886" cy="25179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none" lIns="72000" tIns="3600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buClr>
                <a:schemeClr val="tx1"/>
              </a:buClr>
            </a:pPr>
            <a:r>
              <a:rPr lang="en-US" sz="1400" dirty="0">
                <a:solidFill>
                  <a:schemeClr val="accent1">
                    <a:lumMod val="50000"/>
                  </a:schemeClr>
                </a:solidFill>
              </a:rPr>
              <a:t>Tested</a:t>
            </a:r>
          </a:p>
        </p:txBody>
      </p:sp>
      <p:sp>
        <p:nvSpPr>
          <p:cNvPr id="3" name="Isosceles Triangle 2"/>
          <p:cNvSpPr/>
          <p:nvPr/>
        </p:nvSpPr>
        <p:spPr bwMode="auto">
          <a:xfrm>
            <a:off x="5089162" y="2023672"/>
            <a:ext cx="153230" cy="146422"/>
          </a:xfrm>
          <a:prstGeom prst="triangle">
            <a:avLst/>
          </a:prstGeom>
          <a:solidFill>
            <a:schemeClr val="accent6">
              <a:lumMod val="7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28" name="Isosceles Triangle 27"/>
          <p:cNvSpPr/>
          <p:nvPr/>
        </p:nvSpPr>
        <p:spPr bwMode="auto">
          <a:xfrm>
            <a:off x="6695605" y="2011182"/>
            <a:ext cx="153230" cy="146422"/>
          </a:xfrm>
          <a:prstGeom prst="triangle">
            <a:avLst/>
          </a:prstGeom>
          <a:solidFill>
            <a:schemeClr val="accent6">
              <a:lumMod val="7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29" name="TextBox 28"/>
          <p:cNvSpPr txBox="1"/>
          <p:nvPr/>
        </p:nvSpPr>
        <p:spPr bwMode="auto">
          <a:xfrm>
            <a:off x="8000388" y="2172594"/>
            <a:ext cx="826115" cy="25179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none" lIns="72000" tIns="3600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buClr>
                <a:schemeClr val="tx1"/>
              </a:buClr>
            </a:pPr>
            <a:r>
              <a:rPr lang="en-US" sz="1400" dirty="0">
                <a:solidFill>
                  <a:schemeClr val="accent1">
                    <a:lumMod val="50000"/>
                  </a:schemeClr>
                </a:solidFill>
              </a:rPr>
              <a:t>Approved</a:t>
            </a:r>
          </a:p>
        </p:txBody>
      </p:sp>
      <p:sp>
        <p:nvSpPr>
          <p:cNvPr id="30" name="Isosceles Triangle 29"/>
          <p:cNvSpPr/>
          <p:nvPr/>
        </p:nvSpPr>
        <p:spPr bwMode="auto">
          <a:xfrm>
            <a:off x="8347020" y="2013682"/>
            <a:ext cx="153230" cy="146422"/>
          </a:xfrm>
          <a:prstGeom prst="triangle">
            <a:avLst/>
          </a:prstGeom>
          <a:solidFill>
            <a:schemeClr val="accent6">
              <a:lumMod val="7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31" name="TextBox 30"/>
          <p:cNvSpPr txBox="1"/>
          <p:nvPr/>
        </p:nvSpPr>
        <p:spPr bwMode="auto">
          <a:xfrm>
            <a:off x="9548529" y="2143592"/>
            <a:ext cx="803672" cy="25179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none" lIns="72000" tIns="3600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buClr>
                <a:schemeClr val="tx1"/>
              </a:buClr>
            </a:pPr>
            <a:r>
              <a:rPr lang="en-US" sz="1400" dirty="0">
                <a:solidFill>
                  <a:schemeClr val="accent1">
                    <a:lumMod val="50000"/>
                  </a:schemeClr>
                </a:solidFill>
              </a:rPr>
              <a:t>Deployed</a:t>
            </a:r>
          </a:p>
        </p:txBody>
      </p:sp>
      <p:sp>
        <p:nvSpPr>
          <p:cNvPr id="32" name="Isosceles Triangle 31"/>
          <p:cNvSpPr/>
          <p:nvPr/>
        </p:nvSpPr>
        <p:spPr bwMode="auto">
          <a:xfrm>
            <a:off x="9923486" y="2016182"/>
            <a:ext cx="153230" cy="146422"/>
          </a:xfrm>
          <a:prstGeom prst="triangle">
            <a:avLst/>
          </a:prstGeom>
          <a:solidFill>
            <a:schemeClr val="accent6">
              <a:lumMod val="7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34" name="TextBox 33"/>
          <p:cNvSpPr txBox="1"/>
          <p:nvPr/>
        </p:nvSpPr>
        <p:spPr bwMode="auto">
          <a:xfrm>
            <a:off x="327286" y="2146089"/>
            <a:ext cx="955958" cy="25179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none" lIns="72000" tIns="3600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buClr>
                <a:schemeClr val="tx1"/>
              </a:buClr>
            </a:pPr>
            <a:r>
              <a:rPr lang="en-US" sz="1400" dirty="0">
                <a:solidFill>
                  <a:schemeClr val="accent1">
                    <a:lumMod val="50000"/>
                  </a:schemeClr>
                </a:solidFill>
              </a:rPr>
              <a:t>BOT Status</a:t>
            </a:r>
          </a:p>
        </p:txBody>
      </p:sp>
      <p:sp>
        <p:nvSpPr>
          <p:cNvPr id="4" name="Rectangle 3"/>
          <p:cNvSpPr/>
          <p:nvPr/>
        </p:nvSpPr>
        <p:spPr bwMode="auto">
          <a:xfrm>
            <a:off x="308131" y="2144480"/>
            <a:ext cx="11227893" cy="251795"/>
          </a:xfrm>
          <a:prstGeom prst="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4910195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5">
            <a:extLst/>
          </p:cNvPr>
          <p:cNvSpPr>
            <a:spLocks noGrp="1"/>
          </p:cNvSpPr>
          <p:nvPr>
            <p:ph type="title"/>
          </p:nvPr>
        </p:nvSpPr>
        <p:spPr>
          <a:xfrm>
            <a:off x="1785820" y="129682"/>
            <a:ext cx="8353425" cy="1081088"/>
          </a:xfrm>
        </p:spPr>
        <p:txBody>
          <a:bodyPr/>
          <a:lstStyle/>
          <a:p>
            <a:pPr algn="ctr"/>
            <a:r>
              <a:rPr lang="en-US" sz="4400" dirty="0">
                <a:solidFill>
                  <a:schemeClr val="bg1"/>
                </a:solidFill>
              </a:rPr>
              <a:t>Required Python Changes for Output</a:t>
            </a:r>
            <a:endParaRPr lang="sv-SE" sz="44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0"/>
            <a:ext cx="12192000" cy="6857999"/>
          </a:xfrm>
          <a:prstGeom prst="rect">
            <a:avLst/>
          </a:prstGeom>
          <a:solidFill>
            <a:srgbClr val="002060"/>
          </a:solidFill>
          <a:ln>
            <a:noFill/>
          </a:ln>
          <a:effectLst/>
          <a:extLst/>
        </p:spPr>
        <p:txBody>
          <a:bodyPr wrap="none" anchor="ctr"/>
          <a:lstStyle/>
          <a:p>
            <a:pPr algn="l">
              <a:spcBef>
                <a:spcPts val="1600"/>
              </a:spcBef>
              <a:buClr>
                <a:srgbClr val="89BA17"/>
              </a:buClr>
            </a:pPr>
            <a:endParaRPr lang="en-US" sz="1600" dirty="0">
              <a:solidFill>
                <a:schemeClr val="bg1"/>
              </a:solidFill>
              <a:cs typeface="Arial" pitchFamily="34" charset="0"/>
            </a:endParaRPr>
          </a:p>
        </p:txBody>
      </p:sp>
      <p:pic>
        <p:nvPicPr>
          <p:cNvPr id="9" name="Picture 11">
            <a:extLst/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22391" y="476250"/>
            <a:ext cx="190184" cy="256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5">
            <a:extLst/>
          </p:cNvPr>
          <p:cNvSpPr txBox="1">
            <a:spLocks/>
          </p:cNvSpPr>
          <p:nvPr/>
        </p:nvSpPr>
        <p:spPr bwMode="auto">
          <a:xfrm>
            <a:off x="675250" y="282082"/>
            <a:ext cx="9616396" cy="7485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lnSpc>
                <a:spcPct val="85000"/>
              </a:lnSpc>
              <a:spcBef>
                <a:spcPts val="300"/>
              </a:spcBef>
              <a:spcAft>
                <a:spcPct val="0"/>
              </a:spcAft>
              <a:defRPr sz="4000" kern="1400" spc="-16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Ericsson Hilda" pitchFamily="2" charset="0"/>
              </a:defRPr>
            </a:lvl2pPr>
            <a:lvl3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Ericsson Hilda" pitchFamily="2" charset="0"/>
              </a:defRPr>
            </a:lvl3pPr>
            <a:lvl4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Ericsson Hilda" pitchFamily="2" charset="0"/>
              </a:defRPr>
            </a:lvl4pPr>
            <a:lvl5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Ericsson Hilda" pitchFamily="2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Hilda" pitchFamily="2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Hilda" pitchFamily="2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Hilda" pitchFamily="2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Hilda" pitchFamily="2" charset="0"/>
              </a:defRPr>
            </a:lvl9pPr>
          </a:lstStyle>
          <a:p>
            <a:pPr algn="ctr"/>
            <a:r>
              <a:rPr lang="en-US" sz="4400" dirty="0">
                <a:solidFill>
                  <a:schemeClr val="bg1"/>
                </a:solidFill>
              </a:rPr>
              <a:t>Required Java Changes for Jar Creation</a:t>
            </a:r>
            <a:endParaRPr lang="sv-SE" sz="4400" dirty="0">
              <a:solidFill>
                <a:schemeClr val="bg1"/>
              </a:solidFill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1199263" y="1012580"/>
            <a:ext cx="8648121" cy="4586364"/>
            <a:chOff x="1168177" y="910453"/>
            <a:chExt cx="7219336" cy="4109910"/>
          </a:xfrm>
        </p:grpSpPr>
        <p:sp>
          <p:nvSpPr>
            <p:cNvPr id="8" name="TextBox 7"/>
            <p:cNvSpPr txBox="1"/>
            <p:nvPr/>
          </p:nvSpPr>
          <p:spPr>
            <a:xfrm>
              <a:off x="1168177" y="2784003"/>
              <a:ext cx="79142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highlight>
                    <a:srgbClr val="FFFFFF"/>
                  </a:highlight>
                </a:rPr>
                <a:t>Step 3</a:t>
              </a:r>
            </a:p>
          </p:txBody>
        </p:sp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367838" y="910453"/>
              <a:ext cx="5019675" cy="4098870"/>
            </a:xfrm>
            <a:prstGeom prst="rect">
              <a:avLst/>
            </a:prstGeom>
          </p:spPr>
        </p:pic>
        <p:sp>
          <p:nvSpPr>
            <p:cNvPr id="11" name="Oval 10"/>
            <p:cNvSpPr/>
            <p:nvPr/>
          </p:nvSpPr>
          <p:spPr bwMode="auto">
            <a:xfrm>
              <a:off x="3801227" y="2355033"/>
              <a:ext cx="984765" cy="205213"/>
            </a:xfrm>
            <a:prstGeom prst="ellipse">
              <a:avLst/>
            </a:prstGeom>
            <a:noFill/>
            <a:ln w="2540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45720" rIns="7200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12" name="Straight Arrow Connector 11"/>
            <p:cNvCxnSpPr>
              <a:cxnSpLocks/>
              <a:stCxn id="11" idx="3"/>
            </p:cNvCxnSpPr>
            <p:nvPr/>
          </p:nvCxnSpPr>
          <p:spPr bwMode="auto">
            <a:xfrm flipH="1">
              <a:off x="1959604" y="2530193"/>
              <a:ext cx="1985838" cy="395071"/>
            </a:xfrm>
            <a:prstGeom prst="straightConnector1">
              <a:avLst/>
            </a:prstGeom>
            <a:solidFill>
              <a:schemeClr val="accent1"/>
            </a:solidFill>
            <a:ln w="25400" cap="flat" cmpd="sng" algn="ctr">
              <a:solidFill>
                <a:srgbClr val="FF0000"/>
              </a:solidFill>
              <a:prstDash val="solid"/>
              <a:round/>
              <a:headEnd type="triangle" w="med" len="lg"/>
              <a:tailEnd type="none"/>
            </a:ln>
            <a:effectLst/>
          </p:spPr>
        </p:cxnSp>
        <p:sp>
          <p:nvSpPr>
            <p:cNvPr id="13" name="Oval 12"/>
            <p:cNvSpPr/>
            <p:nvPr/>
          </p:nvSpPr>
          <p:spPr bwMode="auto">
            <a:xfrm>
              <a:off x="5385292" y="4694733"/>
              <a:ext cx="984765" cy="205213"/>
            </a:xfrm>
            <a:prstGeom prst="ellipse">
              <a:avLst/>
            </a:prstGeom>
            <a:noFill/>
            <a:ln w="2540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45720" rIns="7200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14" name="Straight Arrow Connector 13"/>
            <p:cNvCxnSpPr>
              <a:cxnSpLocks/>
            </p:cNvCxnSpPr>
            <p:nvPr/>
          </p:nvCxnSpPr>
          <p:spPr bwMode="auto">
            <a:xfrm flipH="1">
              <a:off x="2650435" y="4805036"/>
              <a:ext cx="2750810" cy="61439"/>
            </a:xfrm>
            <a:prstGeom prst="straightConnector1">
              <a:avLst/>
            </a:prstGeom>
            <a:solidFill>
              <a:schemeClr val="accent1"/>
            </a:solidFill>
            <a:ln w="25400" cap="flat" cmpd="sng" algn="ctr">
              <a:solidFill>
                <a:srgbClr val="FF0000"/>
              </a:solidFill>
              <a:prstDash val="solid"/>
              <a:round/>
              <a:headEnd type="triangle" w="med" len="lg"/>
              <a:tailEnd type="none"/>
            </a:ln>
            <a:effectLst/>
          </p:spPr>
        </p:cxnSp>
        <p:sp>
          <p:nvSpPr>
            <p:cNvPr id="15" name="TextBox 14"/>
            <p:cNvSpPr txBox="1"/>
            <p:nvPr/>
          </p:nvSpPr>
          <p:spPr>
            <a:xfrm>
              <a:off x="1859008" y="4712586"/>
              <a:ext cx="79142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highlight>
                    <a:srgbClr val="FFFFFF"/>
                  </a:highlight>
                </a:rPr>
                <a:t>Step 4</a:t>
              </a:r>
            </a:p>
          </p:txBody>
        </p:sp>
      </p:grpSp>
      <p:sp>
        <p:nvSpPr>
          <p:cNvPr id="16" name="TextBox 15"/>
          <p:cNvSpPr txBox="1"/>
          <p:nvPr/>
        </p:nvSpPr>
        <p:spPr>
          <a:xfrm>
            <a:off x="305683" y="5855978"/>
            <a:ext cx="756699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bg1"/>
                </a:solidFill>
              </a:rPr>
              <a:t>Step 3: Click on JAR file option.</a:t>
            </a:r>
          </a:p>
          <a:p>
            <a:pPr marL="285750" indent="-285750" algn="l"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bg1"/>
                </a:solidFill>
              </a:rPr>
              <a:t>Step 4: Click on Next Button.</a:t>
            </a:r>
          </a:p>
        </p:txBody>
      </p:sp>
    </p:spTree>
    <p:extLst>
      <p:ext uri="{BB962C8B-B14F-4D97-AF65-F5344CB8AC3E}">
        <p14:creationId xmlns:p14="http://schemas.microsoft.com/office/powerpoint/2010/main" val="182771234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5">
            <a:extLst/>
          </p:cNvPr>
          <p:cNvSpPr>
            <a:spLocks noGrp="1"/>
          </p:cNvSpPr>
          <p:nvPr>
            <p:ph type="title"/>
          </p:nvPr>
        </p:nvSpPr>
        <p:spPr>
          <a:xfrm>
            <a:off x="1785820" y="129682"/>
            <a:ext cx="8353425" cy="1081088"/>
          </a:xfrm>
        </p:spPr>
        <p:txBody>
          <a:bodyPr/>
          <a:lstStyle/>
          <a:p>
            <a:pPr algn="ctr"/>
            <a:r>
              <a:rPr lang="en-US" sz="4400" dirty="0">
                <a:solidFill>
                  <a:schemeClr val="bg1"/>
                </a:solidFill>
              </a:rPr>
              <a:t>Required Python Changes for Output</a:t>
            </a:r>
            <a:endParaRPr lang="sv-SE" sz="44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0"/>
            <a:ext cx="12192000" cy="6857999"/>
          </a:xfrm>
          <a:prstGeom prst="rect">
            <a:avLst/>
          </a:prstGeom>
          <a:solidFill>
            <a:srgbClr val="002060"/>
          </a:solidFill>
          <a:ln>
            <a:noFill/>
          </a:ln>
          <a:effectLst/>
          <a:extLst/>
        </p:spPr>
        <p:txBody>
          <a:bodyPr wrap="none" anchor="ctr"/>
          <a:lstStyle/>
          <a:p>
            <a:pPr algn="l">
              <a:spcBef>
                <a:spcPts val="1600"/>
              </a:spcBef>
              <a:buClr>
                <a:srgbClr val="89BA17"/>
              </a:buClr>
            </a:pPr>
            <a:endParaRPr lang="en-US" sz="1600" dirty="0">
              <a:solidFill>
                <a:schemeClr val="bg1"/>
              </a:solidFill>
              <a:cs typeface="Arial" pitchFamily="34" charset="0"/>
            </a:endParaRPr>
          </a:p>
        </p:txBody>
      </p:sp>
      <p:pic>
        <p:nvPicPr>
          <p:cNvPr id="9" name="Picture 11">
            <a:extLst/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22391" y="476250"/>
            <a:ext cx="190184" cy="256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5">
            <a:extLst/>
          </p:cNvPr>
          <p:cNvSpPr txBox="1">
            <a:spLocks/>
          </p:cNvSpPr>
          <p:nvPr/>
        </p:nvSpPr>
        <p:spPr bwMode="auto">
          <a:xfrm>
            <a:off x="675250" y="282082"/>
            <a:ext cx="9616396" cy="7485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lnSpc>
                <a:spcPct val="85000"/>
              </a:lnSpc>
              <a:spcBef>
                <a:spcPts val="300"/>
              </a:spcBef>
              <a:spcAft>
                <a:spcPct val="0"/>
              </a:spcAft>
              <a:defRPr sz="4000" kern="1400" spc="-16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Ericsson Hilda" pitchFamily="2" charset="0"/>
              </a:defRPr>
            </a:lvl2pPr>
            <a:lvl3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Ericsson Hilda" pitchFamily="2" charset="0"/>
              </a:defRPr>
            </a:lvl3pPr>
            <a:lvl4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Ericsson Hilda" pitchFamily="2" charset="0"/>
              </a:defRPr>
            </a:lvl4pPr>
            <a:lvl5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Ericsson Hilda" pitchFamily="2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Hilda" pitchFamily="2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Hilda" pitchFamily="2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Hilda" pitchFamily="2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Hilda" pitchFamily="2" charset="0"/>
              </a:defRPr>
            </a:lvl9pPr>
          </a:lstStyle>
          <a:p>
            <a:pPr algn="ctr"/>
            <a:r>
              <a:rPr lang="en-US" sz="4400" dirty="0">
                <a:solidFill>
                  <a:schemeClr val="bg1"/>
                </a:solidFill>
              </a:rPr>
              <a:t>Required Java Changes for Jar Creation</a:t>
            </a:r>
            <a:endParaRPr lang="sv-SE" sz="4400" dirty="0">
              <a:solidFill>
                <a:schemeClr val="bg1"/>
              </a:solidFill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988991" y="1030677"/>
            <a:ext cx="10307366" cy="4757496"/>
            <a:chOff x="988991" y="832989"/>
            <a:chExt cx="7588139" cy="4757496"/>
          </a:xfrm>
        </p:grpSpPr>
        <p:sp>
          <p:nvSpPr>
            <p:cNvPr id="8" name="TextBox 7"/>
            <p:cNvSpPr txBox="1"/>
            <p:nvPr/>
          </p:nvSpPr>
          <p:spPr>
            <a:xfrm>
              <a:off x="988991" y="2255051"/>
              <a:ext cx="79142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highlight>
                    <a:srgbClr val="FFFFFF"/>
                  </a:highlight>
                </a:rPr>
                <a:t>Step 5</a:t>
              </a: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1588393" y="3627567"/>
              <a:ext cx="79142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highlight>
                    <a:srgbClr val="FFFFFF"/>
                  </a:highlight>
                </a:rPr>
                <a:t>Step 6</a:t>
              </a:r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233605" y="832989"/>
              <a:ext cx="5343525" cy="4155510"/>
            </a:xfrm>
            <a:prstGeom prst="rect">
              <a:avLst/>
            </a:prstGeom>
          </p:spPr>
        </p:pic>
        <p:sp>
          <p:nvSpPr>
            <p:cNvPr id="12" name="Oval 11"/>
            <p:cNvSpPr/>
            <p:nvPr/>
          </p:nvSpPr>
          <p:spPr bwMode="auto">
            <a:xfrm>
              <a:off x="3549484" y="1816112"/>
              <a:ext cx="1645368" cy="183434"/>
            </a:xfrm>
            <a:prstGeom prst="ellipse">
              <a:avLst/>
            </a:prstGeom>
            <a:noFill/>
            <a:ln w="2540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45720" rIns="7200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13" name="Straight Arrow Connector 12"/>
            <p:cNvCxnSpPr>
              <a:cxnSpLocks/>
              <a:stCxn id="12" idx="3"/>
            </p:cNvCxnSpPr>
            <p:nvPr/>
          </p:nvCxnSpPr>
          <p:spPr bwMode="auto">
            <a:xfrm flipH="1">
              <a:off x="1707861" y="1972683"/>
              <a:ext cx="2082582" cy="413659"/>
            </a:xfrm>
            <a:prstGeom prst="straightConnector1">
              <a:avLst/>
            </a:prstGeom>
            <a:solidFill>
              <a:schemeClr val="accent1"/>
            </a:solidFill>
            <a:ln w="25400" cap="flat" cmpd="sng" algn="ctr">
              <a:solidFill>
                <a:srgbClr val="FF0000"/>
              </a:solidFill>
              <a:prstDash val="solid"/>
              <a:round/>
              <a:headEnd type="triangle" w="med" len="lg"/>
              <a:tailEnd type="none"/>
            </a:ln>
            <a:effectLst/>
          </p:spPr>
        </p:cxnSp>
        <p:sp>
          <p:nvSpPr>
            <p:cNvPr id="14" name="Oval 13"/>
            <p:cNvSpPr/>
            <p:nvPr/>
          </p:nvSpPr>
          <p:spPr bwMode="auto">
            <a:xfrm>
              <a:off x="3307285" y="2695144"/>
              <a:ext cx="2470663" cy="189428"/>
            </a:xfrm>
            <a:prstGeom prst="ellipse">
              <a:avLst/>
            </a:prstGeom>
            <a:noFill/>
            <a:ln w="2540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45720" rIns="7200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15" name="Straight Arrow Connector 14"/>
            <p:cNvCxnSpPr>
              <a:cxnSpLocks/>
            </p:cNvCxnSpPr>
            <p:nvPr/>
          </p:nvCxnSpPr>
          <p:spPr bwMode="auto">
            <a:xfrm flipH="1">
              <a:off x="2358887" y="2829205"/>
              <a:ext cx="1271239" cy="947043"/>
            </a:xfrm>
            <a:prstGeom prst="straightConnector1">
              <a:avLst/>
            </a:prstGeom>
            <a:solidFill>
              <a:schemeClr val="accent1"/>
            </a:solidFill>
            <a:ln w="25400" cap="flat" cmpd="sng" algn="ctr">
              <a:solidFill>
                <a:srgbClr val="FF0000"/>
              </a:solidFill>
              <a:prstDash val="solid"/>
              <a:round/>
              <a:headEnd type="triangle" w="med" len="lg"/>
              <a:tailEnd type="none"/>
            </a:ln>
            <a:effectLst/>
          </p:spPr>
        </p:cxnSp>
        <p:sp>
          <p:nvSpPr>
            <p:cNvPr id="16" name="Oval 15"/>
            <p:cNvSpPr/>
            <p:nvPr/>
          </p:nvSpPr>
          <p:spPr bwMode="auto">
            <a:xfrm>
              <a:off x="3822476" y="3454804"/>
              <a:ext cx="2675305" cy="313346"/>
            </a:xfrm>
            <a:prstGeom prst="ellipse">
              <a:avLst/>
            </a:prstGeom>
            <a:noFill/>
            <a:ln w="2540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45720" rIns="7200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17" name="Straight Arrow Connector 16"/>
            <p:cNvCxnSpPr>
              <a:cxnSpLocks/>
            </p:cNvCxnSpPr>
            <p:nvPr/>
          </p:nvCxnSpPr>
          <p:spPr bwMode="auto">
            <a:xfrm flipH="1">
              <a:off x="2593143" y="3598654"/>
              <a:ext cx="1271239" cy="947043"/>
            </a:xfrm>
            <a:prstGeom prst="straightConnector1">
              <a:avLst/>
            </a:prstGeom>
            <a:solidFill>
              <a:schemeClr val="accent1"/>
            </a:solidFill>
            <a:ln w="25400" cap="flat" cmpd="sng" algn="ctr">
              <a:solidFill>
                <a:srgbClr val="FF0000"/>
              </a:solidFill>
              <a:prstDash val="solid"/>
              <a:round/>
              <a:headEnd type="triangle" w="med" len="lg"/>
              <a:tailEnd type="none"/>
            </a:ln>
            <a:effectLst/>
          </p:spPr>
        </p:cxnSp>
        <p:sp>
          <p:nvSpPr>
            <p:cNvPr id="18" name="TextBox 17"/>
            <p:cNvSpPr txBox="1"/>
            <p:nvPr/>
          </p:nvSpPr>
          <p:spPr>
            <a:xfrm>
              <a:off x="1801716" y="4465276"/>
              <a:ext cx="79142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highlight>
                    <a:srgbClr val="FFFFFF"/>
                  </a:highlight>
                </a:rPr>
                <a:t>Step 7</a:t>
              </a:r>
            </a:p>
          </p:txBody>
        </p:sp>
        <p:sp>
          <p:nvSpPr>
            <p:cNvPr id="19" name="Oval 18"/>
            <p:cNvSpPr/>
            <p:nvPr/>
          </p:nvSpPr>
          <p:spPr bwMode="auto">
            <a:xfrm>
              <a:off x="6400799" y="4702027"/>
              <a:ext cx="1268533" cy="188025"/>
            </a:xfrm>
            <a:prstGeom prst="ellipse">
              <a:avLst/>
            </a:prstGeom>
            <a:noFill/>
            <a:ln w="2540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45720" rIns="7200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20" name="Straight Arrow Connector 19"/>
            <p:cNvCxnSpPr>
              <a:cxnSpLocks/>
            </p:cNvCxnSpPr>
            <p:nvPr/>
          </p:nvCxnSpPr>
          <p:spPr bwMode="auto">
            <a:xfrm>
              <a:off x="6749775" y="4854484"/>
              <a:ext cx="1066631" cy="490780"/>
            </a:xfrm>
            <a:prstGeom prst="straightConnector1">
              <a:avLst/>
            </a:prstGeom>
            <a:solidFill>
              <a:schemeClr val="accent1"/>
            </a:solidFill>
            <a:ln w="25400" cap="flat" cmpd="sng" algn="ctr">
              <a:solidFill>
                <a:srgbClr val="FF0000"/>
              </a:solidFill>
              <a:prstDash val="solid"/>
              <a:round/>
              <a:headEnd type="triangle" w="med" len="lg"/>
              <a:tailEnd type="none"/>
            </a:ln>
            <a:effectLst/>
          </p:spPr>
        </p:cxnSp>
        <p:sp>
          <p:nvSpPr>
            <p:cNvPr id="21" name="TextBox 20"/>
            <p:cNvSpPr txBox="1"/>
            <p:nvPr/>
          </p:nvSpPr>
          <p:spPr>
            <a:xfrm>
              <a:off x="7497375" y="5282708"/>
              <a:ext cx="79142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highlight>
                    <a:srgbClr val="FFFFFF"/>
                  </a:highlight>
                </a:rPr>
                <a:t>Step 8</a:t>
              </a:r>
            </a:p>
          </p:txBody>
        </p:sp>
      </p:grpSp>
      <p:sp>
        <p:nvSpPr>
          <p:cNvPr id="22" name="TextBox 21"/>
          <p:cNvSpPr txBox="1"/>
          <p:nvPr/>
        </p:nvSpPr>
        <p:spPr>
          <a:xfrm>
            <a:off x="305683" y="5448014"/>
            <a:ext cx="6890247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bg1"/>
                </a:solidFill>
              </a:rPr>
              <a:t>Step 5: Reconfirm you have selected only required folder with classes (do not select supporting jar files).</a:t>
            </a:r>
          </a:p>
          <a:p>
            <a:pPr marL="285750" indent="-285750" algn="l"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bg1"/>
                </a:solidFill>
              </a:rPr>
              <a:t>Step 6: Check the option of Export generated class files and resources.</a:t>
            </a:r>
          </a:p>
          <a:p>
            <a:pPr marL="285750" indent="-285750" algn="l"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bg1"/>
                </a:solidFill>
              </a:rPr>
              <a:t>Step 7: Put your jar file name with path.</a:t>
            </a:r>
          </a:p>
          <a:p>
            <a:pPr marL="285750" indent="-285750" algn="l"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bg1"/>
                </a:solidFill>
              </a:rPr>
              <a:t>Step 8: Click on Finish Button to generate required jar file. </a:t>
            </a:r>
          </a:p>
        </p:txBody>
      </p:sp>
    </p:spTree>
    <p:extLst>
      <p:ext uri="{BB962C8B-B14F-4D97-AF65-F5344CB8AC3E}">
        <p14:creationId xmlns:p14="http://schemas.microsoft.com/office/powerpoint/2010/main" val="345754767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623854EA-CEFE-4DA8-92CF-3180BAF519C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24200" y="4156317"/>
            <a:ext cx="5943600" cy="347472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392870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A5D622B-A492-4494-872F-86FEB509D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107950"/>
            <a:ext cx="10793178" cy="501650"/>
          </a:xfrm>
        </p:spPr>
        <p:txBody>
          <a:bodyPr/>
          <a:lstStyle/>
          <a:p>
            <a:pPr algn="ctr"/>
            <a:r>
              <a:rPr lang="sv-SE" sz="3600" dirty="0"/>
              <a:t>ISF Test Environment – BOTs </a:t>
            </a:r>
          </a:p>
        </p:txBody>
      </p:sp>
      <p:sp>
        <p:nvSpPr>
          <p:cNvPr id="8" name="Text Box 1"/>
          <p:cNvSpPr txBox="1">
            <a:spLocks noChangeArrowheads="1"/>
          </p:cNvSpPr>
          <p:nvPr/>
        </p:nvSpPr>
        <p:spPr bwMode="auto">
          <a:xfrm>
            <a:off x="479425" y="1135961"/>
            <a:ext cx="11227893" cy="4845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72000" tIns="0" rIns="72000" bIns="0" anchor="t" anchorCtr="0"/>
          <a:lstStyle>
            <a:lvl1pPr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ts val="1600"/>
              </a:spcBef>
              <a:buClr>
                <a:srgbClr val="89BA17"/>
              </a:buClr>
            </a:pPr>
            <a:r>
              <a:rPr lang="en-US" sz="2000" dirty="0">
                <a:latin typeface="+mj-lt"/>
                <a:cs typeface="Arial" pitchFamily="34" charset="0"/>
              </a:rPr>
              <a:t>Below Test environment is available for integration testing of BOTs in case anyone needs</a:t>
            </a:r>
          </a:p>
          <a:p>
            <a:pPr>
              <a:spcBef>
                <a:spcPts val="1600"/>
              </a:spcBef>
              <a:buClr>
                <a:srgbClr val="89BA17"/>
              </a:buClr>
            </a:pPr>
            <a:r>
              <a:rPr lang="en-US" u="sng" dirty="0">
                <a:hlinkClick r:id="rId3"/>
              </a:rPr>
              <a:t>http://10.184.56.132/ISF_UI_PreProd/</a:t>
            </a:r>
            <a:endParaRPr lang="en-US" dirty="0"/>
          </a:p>
          <a:p>
            <a:pPr>
              <a:spcBef>
                <a:spcPts val="1600"/>
              </a:spcBef>
              <a:buClr>
                <a:srgbClr val="89BA17"/>
              </a:buClr>
            </a:pPr>
            <a:endParaRPr lang="en-US" sz="2000" dirty="0">
              <a:latin typeface="+mj-lt"/>
              <a:cs typeface="Arial" pitchFamily="34" charset="0"/>
            </a:endParaRPr>
          </a:p>
          <a:p>
            <a:pPr>
              <a:spcBef>
                <a:spcPts val="1600"/>
              </a:spcBef>
              <a:buClr>
                <a:srgbClr val="89BA17"/>
              </a:buClr>
            </a:pPr>
            <a:r>
              <a:rPr lang="en-US" sz="2000" dirty="0">
                <a:latin typeface="+mj-lt"/>
                <a:cs typeface="Arial" pitchFamily="34" charset="0"/>
              </a:rPr>
              <a:t>There is a separate ISF Desktop file for </a:t>
            </a:r>
            <a:r>
              <a:rPr lang="en-US" sz="2000" dirty="0" err="1">
                <a:latin typeface="+mj-lt"/>
                <a:cs typeface="Arial" pitchFamily="34" charset="0"/>
              </a:rPr>
              <a:t>Preprod</a:t>
            </a:r>
            <a:r>
              <a:rPr lang="en-US" sz="2000" dirty="0">
                <a:latin typeface="+mj-lt"/>
                <a:cs typeface="Arial" pitchFamily="34" charset="0"/>
              </a:rPr>
              <a:t>. It can be downloaded from below URL</a:t>
            </a:r>
          </a:p>
          <a:p>
            <a:pPr>
              <a:spcBef>
                <a:spcPts val="1600"/>
              </a:spcBef>
              <a:buClr>
                <a:srgbClr val="89BA17"/>
              </a:buClr>
            </a:pPr>
            <a:r>
              <a:rPr lang="en-US" u="sng" dirty="0">
                <a:hlinkClick r:id="rId4"/>
              </a:rPr>
              <a:t>http://10.184.56.132/isfupload/Setup/ISF/1.6/ISFSHSetup_PreProd_27092018.zip</a:t>
            </a:r>
            <a:endParaRPr lang="en-US" dirty="0"/>
          </a:p>
          <a:p>
            <a:pPr>
              <a:spcBef>
                <a:spcPts val="1600"/>
              </a:spcBef>
              <a:buClr>
                <a:srgbClr val="89BA17"/>
              </a:buClr>
            </a:pPr>
            <a:endParaRPr lang="en-US" sz="2000" dirty="0"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900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A5D622B-A492-4494-872F-86FEB509D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107950"/>
            <a:ext cx="10793178" cy="501650"/>
          </a:xfrm>
        </p:spPr>
        <p:txBody>
          <a:bodyPr/>
          <a:lstStyle/>
          <a:p>
            <a:pPr algn="ctr"/>
            <a:r>
              <a:rPr lang="sv-SE" sz="3600" dirty="0"/>
              <a:t>ISF Automation Pre-requisites</a:t>
            </a:r>
          </a:p>
        </p:txBody>
      </p:sp>
      <p:sp>
        <p:nvSpPr>
          <p:cNvPr id="4" name="Text Box 1"/>
          <p:cNvSpPr txBox="1">
            <a:spLocks noChangeArrowheads="1"/>
          </p:cNvSpPr>
          <p:nvPr/>
        </p:nvSpPr>
        <p:spPr bwMode="auto">
          <a:xfrm>
            <a:off x="479425" y="1375805"/>
            <a:ext cx="11227893" cy="349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72000" tIns="0" rIns="72000" bIns="0" anchor="t" anchorCtr="0"/>
          <a:lstStyle>
            <a:lvl1pPr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ts val="1600"/>
              </a:spcBef>
              <a:buClr>
                <a:srgbClr val="89BA17"/>
              </a:buClr>
            </a:pPr>
            <a:r>
              <a:rPr lang="en-US" dirty="0">
                <a:latin typeface="+mj-lt"/>
                <a:cs typeface="Arial" pitchFamily="34" charset="0"/>
              </a:rPr>
              <a:t>Below steps are required before any Automated Step (BOT) can be executed or integrated</a:t>
            </a:r>
          </a:p>
          <a:p>
            <a:pPr>
              <a:spcBef>
                <a:spcPts val="1600"/>
              </a:spcBef>
              <a:buClr>
                <a:srgbClr val="89BA17"/>
              </a:buClr>
            </a:pPr>
            <a:r>
              <a:rPr lang="en-US" dirty="0">
                <a:latin typeface="+mj-lt"/>
                <a:cs typeface="Arial" pitchFamily="34" charset="0"/>
              </a:rPr>
              <a:t>User’s machine should have Java 1.8 64 Bit version (server version). Take help from Ericsson IT if required.</a:t>
            </a:r>
          </a:p>
          <a:p>
            <a:pPr>
              <a:spcBef>
                <a:spcPts val="1600"/>
              </a:spcBef>
              <a:buClr>
                <a:srgbClr val="89BA17"/>
              </a:buClr>
            </a:pPr>
            <a:r>
              <a:rPr lang="en-US" dirty="0">
                <a:latin typeface="+mj-lt"/>
                <a:cs typeface="Arial" pitchFamily="34" charset="0"/>
              </a:rPr>
              <a:t>Download the ISF setup file from ISF page:</a:t>
            </a:r>
          </a:p>
          <a:p>
            <a:pPr marL="800100" lvl="1" indent="-342900">
              <a:spcBef>
                <a:spcPts val="1600"/>
              </a:spcBef>
              <a:buClr>
                <a:srgbClr val="89BA17"/>
              </a:buClr>
              <a:buFont typeface="Arial" panose="020B0604020202020204" pitchFamily="34" charset="0"/>
              <a:buChar char="•"/>
            </a:pPr>
            <a:r>
              <a:rPr lang="en-US" dirty="0">
                <a:latin typeface="+mj-lt"/>
                <a:cs typeface="Arial" pitchFamily="34" charset="0"/>
              </a:rPr>
              <a:t>Run the exe file and set up the application </a:t>
            </a:r>
          </a:p>
          <a:p>
            <a:pPr marL="800100" lvl="1" indent="-342900">
              <a:spcBef>
                <a:spcPts val="1600"/>
              </a:spcBef>
              <a:buClr>
                <a:srgbClr val="89BA17"/>
              </a:buClr>
              <a:buFont typeface="Arial" panose="020B0604020202020204" pitchFamily="34" charset="0"/>
              <a:buChar char="•"/>
            </a:pPr>
            <a:r>
              <a:rPr lang="en-US" dirty="0">
                <a:latin typeface="+mj-lt"/>
                <a:cs typeface="Arial" pitchFamily="34" charset="0"/>
              </a:rPr>
              <a:t>Application will be installed in C drive</a:t>
            </a:r>
          </a:p>
          <a:p>
            <a:pPr marL="800100" lvl="1" indent="-342900">
              <a:spcBef>
                <a:spcPts val="1600"/>
              </a:spcBef>
              <a:buClr>
                <a:srgbClr val="89BA17"/>
              </a:buClr>
              <a:buFont typeface="Arial" panose="020B0604020202020204" pitchFamily="34" charset="0"/>
              <a:buChar char="•"/>
            </a:pPr>
            <a:r>
              <a:rPr lang="en-US" dirty="0">
                <a:latin typeface="+mj-lt"/>
                <a:cs typeface="Arial" pitchFamily="34" charset="0"/>
              </a:rPr>
              <a:t>Run this application.</a:t>
            </a:r>
          </a:p>
        </p:txBody>
      </p:sp>
      <p:pic>
        <p:nvPicPr>
          <p:cNvPr id="3075" name="Picture 3" descr="image00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270" y="5011476"/>
            <a:ext cx="10403487" cy="785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Straight Arrow Connector 2"/>
          <p:cNvCxnSpPr/>
          <p:nvPr/>
        </p:nvCxnSpPr>
        <p:spPr bwMode="auto">
          <a:xfrm flipH="1">
            <a:off x="10148341" y="4467067"/>
            <a:ext cx="299803" cy="544409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 bwMode="auto">
          <a:xfrm>
            <a:off x="9869175" y="4107949"/>
            <a:ext cx="1157937" cy="344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buClr>
                <a:schemeClr val="tx1"/>
              </a:buClr>
            </a:pPr>
            <a:r>
              <a:rPr lang="en-US" sz="2000" dirty="0"/>
              <a:t>ISF Setup</a:t>
            </a:r>
          </a:p>
        </p:txBody>
      </p:sp>
    </p:spTree>
    <p:extLst>
      <p:ext uri="{BB962C8B-B14F-4D97-AF65-F5344CB8AC3E}">
        <p14:creationId xmlns:p14="http://schemas.microsoft.com/office/powerpoint/2010/main" val="7291763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17EE347-92C4-40CB-9FC7-22D0C4B396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425" y="1975267"/>
            <a:ext cx="10568326" cy="3457576"/>
          </a:xfrm>
        </p:spPr>
        <p:txBody>
          <a:bodyPr/>
          <a:lstStyle/>
          <a:p>
            <a:r>
              <a:rPr lang="en-US" dirty="0">
                <a:latin typeface="Ericsson Hilda Light" panose="00000400000000000000" pitchFamily="2" charset="0"/>
              </a:rPr>
              <a:t>ISF Integration of Macro BO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54886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A5D622B-A492-4494-872F-86FEB509D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107950"/>
            <a:ext cx="10793178" cy="501650"/>
          </a:xfrm>
        </p:spPr>
        <p:txBody>
          <a:bodyPr/>
          <a:lstStyle/>
          <a:p>
            <a:pPr algn="ctr"/>
            <a:r>
              <a:rPr lang="sv-SE" sz="3600" dirty="0"/>
              <a:t>ISF BOT Guideline – Excel Macro</a:t>
            </a:r>
          </a:p>
        </p:txBody>
      </p:sp>
      <p:sp>
        <p:nvSpPr>
          <p:cNvPr id="4" name="Text Box 1"/>
          <p:cNvSpPr txBox="1">
            <a:spLocks noChangeArrowheads="1"/>
          </p:cNvSpPr>
          <p:nvPr/>
        </p:nvSpPr>
        <p:spPr bwMode="auto">
          <a:xfrm>
            <a:off x="479425" y="1510716"/>
            <a:ext cx="11227893" cy="4905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72000" tIns="0" rIns="72000" bIns="0" anchor="ctr"/>
          <a:lstStyle>
            <a:lvl1pPr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285750" indent="-285750" algn="l">
              <a:spcBef>
                <a:spcPts val="1600"/>
              </a:spcBef>
              <a:buClr>
                <a:srgbClr val="89BA17"/>
              </a:buClr>
              <a:buFont typeface="Wingdings" panose="05000000000000000000" pitchFamily="2" charset="2"/>
              <a:buChar char="Ø"/>
            </a:pPr>
            <a:r>
              <a:rPr lang="en-US" sz="2000" dirty="0">
                <a:latin typeface="+mj-lt"/>
                <a:cs typeface="Arial" pitchFamily="34" charset="0"/>
              </a:rPr>
              <a:t>Macro file name should not contain any Blank spaces and Special characters (Can use underscore).</a:t>
            </a:r>
          </a:p>
          <a:p>
            <a:pPr marL="285750" indent="-285750" algn="l">
              <a:spcBef>
                <a:spcPts val="1600"/>
              </a:spcBef>
              <a:buClr>
                <a:srgbClr val="89BA17"/>
              </a:buClr>
              <a:buFont typeface="Wingdings" panose="05000000000000000000" pitchFamily="2" charset="2"/>
              <a:buChar char="Ø"/>
            </a:pPr>
            <a:endParaRPr lang="en-US" sz="2000" dirty="0">
              <a:latin typeface="+mj-lt"/>
              <a:cs typeface="Arial" pitchFamily="34" charset="0"/>
            </a:endParaRPr>
          </a:p>
          <a:p>
            <a:pPr marL="285750" indent="-285750" algn="l">
              <a:spcBef>
                <a:spcPts val="1600"/>
              </a:spcBef>
              <a:buClr>
                <a:srgbClr val="89BA17"/>
              </a:buClr>
              <a:buFont typeface="Wingdings" panose="05000000000000000000" pitchFamily="2" charset="2"/>
              <a:buChar char="Ø"/>
            </a:pPr>
            <a:r>
              <a:rPr lang="en-US" sz="2000" dirty="0">
                <a:latin typeface="+mj-lt"/>
                <a:cs typeface="Arial" pitchFamily="34" charset="0"/>
              </a:rPr>
              <a:t>Your macro code should be written on Module level, it should not be on sheet level.</a:t>
            </a:r>
          </a:p>
          <a:p>
            <a:pPr marL="285750" indent="-285750" algn="l">
              <a:spcBef>
                <a:spcPts val="1600"/>
              </a:spcBef>
              <a:buClr>
                <a:srgbClr val="89BA17"/>
              </a:buClr>
              <a:buFont typeface="Wingdings" panose="05000000000000000000" pitchFamily="2" charset="2"/>
              <a:buChar char="Ø"/>
            </a:pPr>
            <a:endParaRPr lang="en-US" sz="2000" dirty="0">
              <a:latin typeface="+mj-lt"/>
              <a:cs typeface="Arial" pitchFamily="34" charset="0"/>
            </a:endParaRPr>
          </a:p>
          <a:p>
            <a:pPr marL="285750" indent="-285750" algn="l">
              <a:spcBef>
                <a:spcPts val="1600"/>
              </a:spcBef>
              <a:buClr>
                <a:srgbClr val="89BA17"/>
              </a:buClr>
              <a:buFont typeface="Wingdings" panose="05000000000000000000" pitchFamily="2" charset="2"/>
              <a:buChar char="Ø"/>
            </a:pPr>
            <a:r>
              <a:rPr lang="en-US" sz="2000" dirty="0">
                <a:latin typeface="+mj-lt"/>
                <a:cs typeface="Arial" pitchFamily="34" charset="0"/>
              </a:rPr>
              <a:t>If your code is on sheet level then do either of any one changes in your code as below:</a:t>
            </a:r>
          </a:p>
          <a:p>
            <a:pPr marL="1028700" lvl="1" algn="l">
              <a:spcBef>
                <a:spcPts val="1600"/>
              </a:spcBef>
              <a:buClr>
                <a:srgbClr val="89BA17"/>
              </a:buClr>
              <a:buFont typeface="Wingdings" panose="05000000000000000000" pitchFamily="2" charset="2"/>
              <a:buChar char="Ø"/>
            </a:pPr>
            <a:r>
              <a:rPr lang="en-US" sz="2000" dirty="0">
                <a:latin typeface="+mj-lt"/>
                <a:cs typeface="Arial" pitchFamily="34" charset="0"/>
              </a:rPr>
              <a:t>Either create a new module and call your sheet code from new module.</a:t>
            </a:r>
          </a:p>
          <a:p>
            <a:pPr marL="1028700" lvl="1" algn="l">
              <a:spcBef>
                <a:spcPts val="1600"/>
              </a:spcBef>
              <a:buClr>
                <a:srgbClr val="89BA17"/>
              </a:buClr>
              <a:buFont typeface="Wingdings" panose="05000000000000000000" pitchFamily="2" charset="2"/>
              <a:buChar char="Ø"/>
            </a:pPr>
            <a:r>
              <a:rPr lang="en-US" sz="2000" dirty="0">
                <a:latin typeface="+mj-lt"/>
                <a:cs typeface="Arial" pitchFamily="34" charset="0"/>
              </a:rPr>
              <a:t>Or shift your Sheet level code in Module.</a:t>
            </a:r>
          </a:p>
          <a:p>
            <a:pPr algn="l">
              <a:spcBef>
                <a:spcPts val="1600"/>
              </a:spcBef>
              <a:buClr>
                <a:srgbClr val="89BA17"/>
              </a:buClr>
            </a:pPr>
            <a:endParaRPr lang="en-US" sz="2000" dirty="0">
              <a:latin typeface="+mj-lt"/>
              <a:cs typeface="Arial" pitchFamily="34" charset="0"/>
            </a:endParaRPr>
          </a:p>
          <a:p>
            <a:pPr lvl="1" indent="0" algn="l">
              <a:spcBef>
                <a:spcPts val="1600"/>
              </a:spcBef>
              <a:buClr>
                <a:srgbClr val="89BA17"/>
              </a:buClr>
            </a:pPr>
            <a:endParaRPr lang="en-US" sz="2000" dirty="0">
              <a:latin typeface="+mj-lt"/>
              <a:cs typeface="Arial" pitchFamily="34" charset="0"/>
            </a:endParaRPr>
          </a:p>
          <a:p>
            <a:pPr lvl="1" indent="0" algn="l">
              <a:spcBef>
                <a:spcPts val="1600"/>
              </a:spcBef>
              <a:buClr>
                <a:srgbClr val="89BA17"/>
              </a:buClr>
            </a:pPr>
            <a:endParaRPr lang="en-US" sz="2000" dirty="0"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52752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A5D622B-A492-4494-872F-86FEB509D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85820" y="129682"/>
            <a:ext cx="8353425" cy="1081088"/>
          </a:xfrm>
        </p:spPr>
        <p:txBody>
          <a:bodyPr/>
          <a:lstStyle/>
          <a:p>
            <a:pPr algn="ctr"/>
            <a:r>
              <a:rPr lang="en-US" sz="4400" dirty="0">
                <a:solidFill>
                  <a:schemeClr val="bg1"/>
                </a:solidFill>
              </a:rPr>
              <a:t>Required Macro Changes for Input</a:t>
            </a:r>
            <a:endParaRPr lang="sv-SE" sz="4400" dirty="0">
              <a:solidFill>
                <a:schemeClr val="bg1"/>
              </a:solidFill>
            </a:endParaRPr>
          </a:p>
        </p:txBody>
      </p:sp>
      <p:grpSp>
        <p:nvGrpSpPr>
          <p:cNvPr id="7" name="Group 21"/>
          <p:cNvGrpSpPr>
            <a:grpSpLocks/>
          </p:cNvGrpSpPr>
          <p:nvPr/>
        </p:nvGrpSpPr>
        <p:grpSpPr bwMode="auto">
          <a:xfrm>
            <a:off x="4179438" y="2119165"/>
            <a:ext cx="757741" cy="376921"/>
            <a:chOff x="2321750" y="3620427"/>
            <a:chExt cx="2782800" cy="1441093"/>
          </a:xfrm>
        </p:grpSpPr>
        <p:grpSp>
          <p:nvGrpSpPr>
            <p:cNvPr id="8" name="Group 4"/>
            <p:cNvGrpSpPr>
              <a:grpSpLocks/>
            </p:cNvGrpSpPr>
            <p:nvPr/>
          </p:nvGrpSpPr>
          <p:grpSpPr bwMode="auto">
            <a:xfrm>
              <a:off x="2633279" y="3620427"/>
              <a:ext cx="900057" cy="1441093"/>
              <a:chOff x="3345891" y="2921611"/>
              <a:chExt cx="894806" cy="1433513"/>
            </a:xfrm>
          </p:grpSpPr>
          <p:grpSp>
            <p:nvGrpSpPr>
              <p:cNvPr id="15" name="Group 14"/>
              <p:cNvGrpSpPr/>
              <p:nvPr/>
            </p:nvGrpSpPr>
            <p:grpSpPr>
              <a:xfrm>
                <a:off x="3345891" y="2921611"/>
                <a:ext cx="258583" cy="1433513"/>
                <a:chOff x="400050" y="2209800"/>
                <a:chExt cx="700088" cy="2644775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22" name="Freeform 3"/>
                <p:cNvSpPr>
                  <a:spLocks noChangeAspect="1"/>
                </p:cNvSpPr>
                <p:nvPr/>
              </p:nvSpPr>
              <p:spPr bwMode="auto">
                <a:xfrm>
                  <a:off x="400050" y="2209800"/>
                  <a:ext cx="274638" cy="2644775"/>
                </a:xfrm>
                <a:custGeom>
                  <a:avLst/>
                  <a:gdLst>
                    <a:gd name="T0" fmla="*/ 2147483647 w 73"/>
                    <a:gd name="T1" fmla="*/ 2147483647 h 705"/>
                    <a:gd name="T2" fmla="*/ 2147483647 w 73"/>
                    <a:gd name="T3" fmla="*/ 2147483647 h 705"/>
                    <a:gd name="T4" fmla="*/ 2147483647 w 73"/>
                    <a:gd name="T5" fmla="*/ 2147483647 h 705"/>
                    <a:gd name="T6" fmla="*/ 0 w 73"/>
                    <a:gd name="T7" fmla="*/ 2147483647 h 705"/>
                    <a:gd name="T8" fmla="*/ 0 w 73"/>
                    <a:gd name="T9" fmla="*/ 2147483647 h 705"/>
                    <a:gd name="T10" fmla="*/ 0 w 73"/>
                    <a:gd name="T11" fmla="*/ 2147483647 h 705"/>
                    <a:gd name="T12" fmla="*/ 2147483647 w 73"/>
                    <a:gd name="T13" fmla="*/ 0 h 705"/>
                    <a:gd name="T14" fmla="*/ 2147483647 w 73"/>
                    <a:gd name="T15" fmla="*/ 0 h 705"/>
                    <a:gd name="T16" fmla="*/ 2147483647 w 73"/>
                    <a:gd name="T17" fmla="*/ 0 h 705"/>
                    <a:gd name="T18" fmla="*/ 2147483647 w 73"/>
                    <a:gd name="T19" fmla="*/ 0 h 705"/>
                    <a:gd name="T20" fmla="*/ 2147483647 w 73"/>
                    <a:gd name="T21" fmla="*/ 0 h 705"/>
                    <a:gd name="T22" fmla="*/ 2147483647 w 73"/>
                    <a:gd name="T23" fmla="*/ 2147483647 h 705"/>
                    <a:gd name="T24" fmla="*/ 2147483647 w 73"/>
                    <a:gd name="T25" fmla="*/ 2147483647 h 705"/>
                    <a:gd name="T26" fmla="*/ 2147483647 w 73"/>
                    <a:gd name="T27" fmla="*/ 2147483647 h 705"/>
                    <a:gd name="T28" fmla="*/ 2147483647 w 73"/>
                    <a:gd name="T29" fmla="*/ 2147483647 h 705"/>
                    <a:gd name="T30" fmla="*/ 2147483647 w 73"/>
                    <a:gd name="T31" fmla="*/ 2147483647 h 705"/>
                    <a:gd name="T32" fmla="*/ 2147483647 w 73"/>
                    <a:gd name="T33" fmla="*/ 2147483647 h 705"/>
                    <a:gd name="T34" fmla="*/ 2147483647 w 73"/>
                    <a:gd name="T35" fmla="*/ 2147483647 h 705"/>
                    <a:gd name="T36" fmla="*/ 2147483647 w 73"/>
                    <a:gd name="T37" fmla="*/ 2147483647 h 705"/>
                    <a:gd name="T38" fmla="*/ 2147483647 w 73"/>
                    <a:gd name="T39" fmla="*/ 2147483647 h 705"/>
                    <a:gd name="T40" fmla="*/ 2147483647 w 73"/>
                    <a:gd name="T41" fmla="*/ 2147483647 h 705"/>
                    <a:gd name="T42" fmla="*/ 2147483647 w 73"/>
                    <a:gd name="T43" fmla="*/ 2147483647 h 705"/>
                    <a:gd name="T44" fmla="*/ 2147483647 w 73"/>
                    <a:gd name="T45" fmla="*/ 2147483647 h 705"/>
                    <a:gd name="T46" fmla="*/ 2147483647 w 73"/>
                    <a:gd name="T47" fmla="*/ 2147483647 h 705"/>
                    <a:gd name="T48" fmla="*/ 2147483647 w 73"/>
                    <a:gd name="T49" fmla="*/ 2147483647 h 705"/>
                    <a:gd name="T50" fmla="*/ 2147483647 w 73"/>
                    <a:gd name="T51" fmla="*/ 2147483647 h 705"/>
                    <a:gd name="T52" fmla="*/ 2147483647 w 73"/>
                    <a:gd name="T53" fmla="*/ 2147483647 h 705"/>
                    <a:gd name="T54" fmla="*/ 2147483647 w 73"/>
                    <a:gd name="T55" fmla="*/ 2147483647 h 705"/>
                    <a:gd name="T56" fmla="*/ 2147483647 w 73"/>
                    <a:gd name="T57" fmla="*/ 2147483647 h 705"/>
                    <a:gd name="T58" fmla="*/ 2147483647 w 73"/>
                    <a:gd name="T59" fmla="*/ 2147483647 h 705"/>
                    <a:gd name="T60" fmla="*/ 2147483647 w 73"/>
                    <a:gd name="T61" fmla="*/ 2147483647 h 705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w 73"/>
                    <a:gd name="T94" fmla="*/ 0 h 705"/>
                    <a:gd name="T95" fmla="*/ 73 w 73"/>
                    <a:gd name="T96" fmla="*/ 705 h 705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T93" t="T94" r="T95" b="T96"/>
                  <a:pathLst>
                    <a:path w="73" h="705">
                      <a:moveTo>
                        <a:pt x="39" y="705"/>
                      </a:moveTo>
                      <a:cubicBezTo>
                        <a:pt x="33" y="705"/>
                        <a:pt x="29" y="705"/>
                        <a:pt x="29" y="705"/>
                      </a:cubicBezTo>
                      <a:cubicBezTo>
                        <a:pt x="29" y="705"/>
                        <a:pt x="29" y="705"/>
                        <a:pt x="29" y="705"/>
                      </a:cubicBezTo>
                      <a:cubicBezTo>
                        <a:pt x="13" y="705"/>
                        <a:pt x="0" y="692"/>
                        <a:pt x="0" y="676"/>
                      </a:cubicBezTo>
                      <a:cubicBezTo>
                        <a:pt x="0" y="676"/>
                        <a:pt x="0" y="676"/>
                        <a:pt x="0" y="676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29" y="0"/>
                        <a:pt x="29" y="0"/>
                        <a:pt x="29" y="0"/>
                      </a:cubicBezTo>
                      <a:cubicBezTo>
                        <a:pt x="29" y="0"/>
                        <a:pt x="43" y="0"/>
                        <a:pt x="6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9" y="0"/>
                        <a:pt x="73" y="3"/>
                        <a:pt x="73" y="8"/>
                      </a:cubicBezTo>
                      <a:cubicBezTo>
                        <a:pt x="73" y="8"/>
                        <a:pt x="73" y="8"/>
                        <a:pt x="73" y="8"/>
                      </a:cubicBezTo>
                      <a:cubicBezTo>
                        <a:pt x="73" y="12"/>
                        <a:pt x="69" y="16"/>
                        <a:pt x="65" y="16"/>
                      </a:cubicBezTo>
                      <a:cubicBezTo>
                        <a:pt x="65" y="16"/>
                        <a:pt x="65" y="16"/>
                        <a:pt x="65" y="16"/>
                      </a:cubicBezTo>
                      <a:cubicBezTo>
                        <a:pt x="54" y="16"/>
                        <a:pt x="45" y="16"/>
                        <a:pt x="39" y="16"/>
                      </a:cubicBezTo>
                      <a:cubicBezTo>
                        <a:pt x="39" y="16"/>
                        <a:pt x="39" y="16"/>
                        <a:pt x="39" y="16"/>
                      </a:cubicBezTo>
                      <a:cubicBezTo>
                        <a:pt x="33" y="16"/>
                        <a:pt x="29" y="16"/>
                        <a:pt x="29" y="16"/>
                      </a:cubicBezTo>
                      <a:cubicBezTo>
                        <a:pt x="29" y="16"/>
                        <a:pt x="29" y="16"/>
                        <a:pt x="29" y="16"/>
                      </a:cubicBezTo>
                      <a:cubicBezTo>
                        <a:pt x="22" y="16"/>
                        <a:pt x="16" y="22"/>
                        <a:pt x="16" y="29"/>
                      </a:cubicBezTo>
                      <a:cubicBezTo>
                        <a:pt x="16" y="29"/>
                        <a:pt x="16" y="29"/>
                        <a:pt x="16" y="29"/>
                      </a:cubicBezTo>
                      <a:cubicBezTo>
                        <a:pt x="16" y="676"/>
                        <a:pt x="16" y="676"/>
                        <a:pt x="16" y="676"/>
                      </a:cubicBezTo>
                      <a:cubicBezTo>
                        <a:pt x="16" y="683"/>
                        <a:pt x="22" y="689"/>
                        <a:pt x="29" y="689"/>
                      </a:cubicBezTo>
                      <a:cubicBezTo>
                        <a:pt x="29" y="689"/>
                        <a:pt x="29" y="689"/>
                        <a:pt x="29" y="689"/>
                      </a:cubicBezTo>
                      <a:cubicBezTo>
                        <a:pt x="29" y="689"/>
                        <a:pt x="43" y="689"/>
                        <a:pt x="65" y="689"/>
                      </a:cubicBezTo>
                      <a:cubicBezTo>
                        <a:pt x="65" y="689"/>
                        <a:pt x="65" y="689"/>
                        <a:pt x="65" y="689"/>
                      </a:cubicBezTo>
                      <a:cubicBezTo>
                        <a:pt x="69" y="689"/>
                        <a:pt x="73" y="693"/>
                        <a:pt x="73" y="697"/>
                      </a:cubicBezTo>
                      <a:cubicBezTo>
                        <a:pt x="73" y="697"/>
                        <a:pt x="73" y="697"/>
                        <a:pt x="73" y="697"/>
                      </a:cubicBezTo>
                      <a:cubicBezTo>
                        <a:pt x="73" y="701"/>
                        <a:pt x="69" y="705"/>
                        <a:pt x="65" y="705"/>
                      </a:cubicBezTo>
                      <a:cubicBezTo>
                        <a:pt x="65" y="705"/>
                        <a:pt x="65" y="705"/>
                        <a:pt x="65" y="705"/>
                      </a:cubicBezTo>
                      <a:cubicBezTo>
                        <a:pt x="54" y="705"/>
                        <a:pt x="45" y="705"/>
                        <a:pt x="39" y="70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 cmpd="sng" algn="ctr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1200" cap="none" spc="0" normalizeH="0" baseline="0" noProof="0">
                    <a:ln>
                      <a:noFill/>
                    </a:ln>
                    <a:solidFill>
                      <a:srgbClr val="58585A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endParaRPr>
                </a:p>
              </p:txBody>
            </p:sp>
            <p:sp>
              <p:nvSpPr>
                <p:cNvPr id="23" name="Freeform 13"/>
                <p:cNvSpPr>
                  <a:spLocks noChangeAspect="1"/>
                </p:cNvSpPr>
                <p:nvPr/>
              </p:nvSpPr>
              <p:spPr bwMode="auto">
                <a:xfrm>
                  <a:off x="825500" y="2209800"/>
                  <a:ext cx="274638" cy="2644775"/>
                </a:xfrm>
                <a:custGeom>
                  <a:avLst/>
                  <a:gdLst>
                    <a:gd name="T0" fmla="*/ 0 w 73"/>
                    <a:gd name="T1" fmla="*/ 2147483647 h 705"/>
                    <a:gd name="T2" fmla="*/ 2147483647 w 73"/>
                    <a:gd name="T3" fmla="*/ 2147483647 h 705"/>
                    <a:gd name="T4" fmla="*/ 2147483647 w 73"/>
                    <a:gd name="T5" fmla="*/ 2147483647 h 705"/>
                    <a:gd name="T6" fmla="*/ 2147483647 w 73"/>
                    <a:gd name="T7" fmla="*/ 2147483647 h 705"/>
                    <a:gd name="T8" fmla="*/ 2147483647 w 73"/>
                    <a:gd name="T9" fmla="*/ 2147483647 h 705"/>
                    <a:gd name="T10" fmla="*/ 2147483647 w 73"/>
                    <a:gd name="T11" fmla="*/ 2147483647 h 705"/>
                    <a:gd name="T12" fmla="*/ 2147483647 w 73"/>
                    <a:gd name="T13" fmla="*/ 2147483647 h 705"/>
                    <a:gd name="T14" fmla="*/ 2147483647 w 73"/>
                    <a:gd name="T15" fmla="*/ 2147483647 h 705"/>
                    <a:gd name="T16" fmla="*/ 2147483647 w 73"/>
                    <a:gd name="T17" fmla="*/ 2147483647 h 705"/>
                    <a:gd name="T18" fmla="*/ 2147483647 w 73"/>
                    <a:gd name="T19" fmla="*/ 2147483647 h 705"/>
                    <a:gd name="T20" fmla="*/ 2147483647 w 73"/>
                    <a:gd name="T21" fmla="*/ 2147483647 h 705"/>
                    <a:gd name="T22" fmla="*/ 2147483647 w 73"/>
                    <a:gd name="T23" fmla="*/ 2147483647 h 705"/>
                    <a:gd name="T24" fmla="*/ 0 w 73"/>
                    <a:gd name="T25" fmla="*/ 2147483647 h 705"/>
                    <a:gd name="T26" fmla="*/ 0 w 73"/>
                    <a:gd name="T27" fmla="*/ 2147483647 h 705"/>
                    <a:gd name="T28" fmla="*/ 2147483647 w 73"/>
                    <a:gd name="T29" fmla="*/ 0 h 705"/>
                    <a:gd name="T30" fmla="*/ 2147483647 w 73"/>
                    <a:gd name="T31" fmla="*/ 0 h 705"/>
                    <a:gd name="T32" fmla="*/ 2147483647 w 73"/>
                    <a:gd name="T33" fmla="*/ 0 h 705"/>
                    <a:gd name="T34" fmla="*/ 2147483647 w 73"/>
                    <a:gd name="T35" fmla="*/ 0 h 705"/>
                    <a:gd name="T36" fmla="*/ 2147483647 w 73"/>
                    <a:gd name="T37" fmla="*/ 2147483647 h 705"/>
                    <a:gd name="T38" fmla="*/ 2147483647 w 73"/>
                    <a:gd name="T39" fmla="*/ 2147483647 h 705"/>
                    <a:gd name="T40" fmla="*/ 2147483647 w 73"/>
                    <a:gd name="T41" fmla="*/ 2147483647 h 705"/>
                    <a:gd name="T42" fmla="*/ 2147483647 w 73"/>
                    <a:gd name="T43" fmla="*/ 2147483647 h 705"/>
                    <a:gd name="T44" fmla="*/ 2147483647 w 73"/>
                    <a:gd name="T45" fmla="*/ 2147483647 h 705"/>
                    <a:gd name="T46" fmla="*/ 2147483647 w 73"/>
                    <a:gd name="T47" fmla="*/ 2147483647 h 705"/>
                    <a:gd name="T48" fmla="*/ 2147483647 w 73"/>
                    <a:gd name="T49" fmla="*/ 2147483647 h 705"/>
                    <a:gd name="T50" fmla="*/ 0 w 73"/>
                    <a:gd name="T51" fmla="*/ 2147483647 h 705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73"/>
                    <a:gd name="T79" fmla="*/ 0 h 705"/>
                    <a:gd name="T80" fmla="*/ 73 w 73"/>
                    <a:gd name="T81" fmla="*/ 705 h 705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73" h="705">
                      <a:moveTo>
                        <a:pt x="0" y="697"/>
                      </a:moveTo>
                      <a:cubicBezTo>
                        <a:pt x="0" y="693"/>
                        <a:pt x="4" y="689"/>
                        <a:pt x="8" y="689"/>
                      </a:cubicBezTo>
                      <a:cubicBezTo>
                        <a:pt x="8" y="689"/>
                        <a:pt x="8" y="689"/>
                        <a:pt x="8" y="689"/>
                      </a:cubicBezTo>
                      <a:cubicBezTo>
                        <a:pt x="30" y="689"/>
                        <a:pt x="44" y="689"/>
                        <a:pt x="44" y="689"/>
                      </a:cubicBezTo>
                      <a:cubicBezTo>
                        <a:pt x="44" y="689"/>
                        <a:pt x="44" y="689"/>
                        <a:pt x="44" y="689"/>
                      </a:cubicBezTo>
                      <a:cubicBezTo>
                        <a:pt x="51" y="689"/>
                        <a:pt x="57" y="683"/>
                        <a:pt x="57" y="676"/>
                      </a:cubicBezTo>
                      <a:cubicBezTo>
                        <a:pt x="57" y="676"/>
                        <a:pt x="57" y="676"/>
                        <a:pt x="57" y="676"/>
                      </a:cubicBezTo>
                      <a:cubicBezTo>
                        <a:pt x="57" y="29"/>
                        <a:pt x="57" y="29"/>
                        <a:pt x="57" y="29"/>
                      </a:cubicBezTo>
                      <a:cubicBezTo>
                        <a:pt x="57" y="22"/>
                        <a:pt x="51" y="16"/>
                        <a:pt x="44" y="16"/>
                      </a:cubicBezTo>
                      <a:cubicBezTo>
                        <a:pt x="44" y="16"/>
                        <a:pt x="44" y="16"/>
                        <a:pt x="44" y="16"/>
                      </a:cubicBezTo>
                      <a:cubicBezTo>
                        <a:pt x="44" y="16"/>
                        <a:pt x="30" y="16"/>
                        <a:pt x="8" y="16"/>
                      </a:cubicBezTo>
                      <a:cubicBezTo>
                        <a:pt x="8" y="16"/>
                        <a:pt x="8" y="16"/>
                        <a:pt x="8" y="16"/>
                      </a:cubicBezTo>
                      <a:cubicBezTo>
                        <a:pt x="4" y="16"/>
                        <a:pt x="0" y="12"/>
                        <a:pt x="0" y="8"/>
                      </a:cubicBezTo>
                      <a:cubicBezTo>
                        <a:pt x="0" y="8"/>
                        <a:pt x="0" y="8"/>
                        <a:pt x="0" y="8"/>
                      </a:cubicBezTo>
                      <a:cubicBezTo>
                        <a:pt x="0" y="3"/>
                        <a:pt x="4" y="0"/>
                        <a:pt x="8" y="0"/>
                      </a:cubicBezTo>
                      <a:cubicBezTo>
                        <a:pt x="8" y="0"/>
                        <a:pt x="8" y="0"/>
                        <a:pt x="8" y="0"/>
                      </a:cubicBezTo>
                      <a:cubicBezTo>
                        <a:pt x="30" y="0"/>
                        <a:pt x="44" y="0"/>
                        <a:pt x="44" y="0"/>
                      </a:cubicBezTo>
                      <a:cubicBezTo>
                        <a:pt x="44" y="0"/>
                        <a:pt x="44" y="0"/>
                        <a:pt x="44" y="0"/>
                      </a:cubicBezTo>
                      <a:cubicBezTo>
                        <a:pt x="60" y="0"/>
                        <a:pt x="73" y="13"/>
                        <a:pt x="73" y="29"/>
                      </a:cubicBezTo>
                      <a:cubicBezTo>
                        <a:pt x="73" y="29"/>
                        <a:pt x="73" y="29"/>
                        <a:pt x="73" y="29"/>
                      </a:cubicBezTo>
                      <a:cubicBezTo>
                        <a:pt x="73" y="676"/>
                        <a:pt x="73" y="676"/>
                        <a:pt x="73" y="676"/>
                      </a:cubicBezTo>
                      <a:cubicBezTo>
                        <a:pt x="73" y="692"/>
                        <a:pt x="60" y="705"/>
                        <a:pt x="44" y="705"/>
                      </a:cubicBezTo>
                      <a:cubicBezTo>
                        <a:pt x="44" y="705"/>
                        <a:pt x="44" y="705"/>
                        <a:pt x="44" y="705"/>
                      </a:cubicBezTo>
                      <a:cubicBezTo>
                        <a:pt x="44" y="705"/>
                        <a:pt x="30" y="705"/>
                        <a:pt x="8" y="705"/>
                      </a:cubicBezTo>
                      <a:cubicBezTo>
                        <a:pt x="8" y="705"/>
                        <a:pt x="8" y="705"/>
                        <a:pt x="8" y="705"/>
                      </a:cubicBezTo>
                      <a:cubicBezTo>
                        <a:pt x="4" y="705"/>
                        <a:pt x="0" y="701"/>
                        <a:pt x="0" y="69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 cmpd="sng" algn="ctr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1200" cap="none" spc="0" normalizeH="0" baseline="0" noProof="0">
                    <a:ln>
                      <a:noFill/>
                    </a:ln>
                    <a:solidFill>
                      <a:srgbClr val="58585A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endParaRPr>
                </a:p>
              </p:txBody>
            </p:sp>
          </p:grpSp>
          <p:grpSp>
            <p:nvGrpSpPr>
              <p:cNvPr id="16" name="Group 15"/>
              <p:cNvGrpSpPr/>
              <p:nvPr/>
            </p:nvGrpSpPr>
            <p:grpSpPr>
              <a:xfrm>
                <a:off x="3664002" y="2921611"/>
                <a:ext cx="258583" cy="1433513"/>
                <a:chOff x="400050" y="2209800"/>
                <a:chExt cx="700088" cy="2644775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20" name="Freeform 3"/>
                <p:cNvSpPr>
                  <a:spLocks noChangeAspect="1"/>
                </p:cNvSpPr>
                <p:nvPr/>
              </p:nvSpPr>
              <p:spPr bwMode="auto">
                <a:xfrm>
                  <a:off x="400050" y="2209800"/>
                  <a:ext cx="274638" cy="2644775"/>
                </a:xfrm>
                <a:custGeom>
                  <a:avLst/>
                  <a:gdLst>
                    <a:gd name="T0" fmla="*/ 2147483647 w 73"/>
                    <a:gd name="T1" fmla="*/ 2147483647 h 705"/>
                    <a:gd name="T2" fmla="*/ 2147483647 w 73"/>
                    <a:gd name="T3" fmla="*/ 2147483647 h 705"/>
                    <a:gd name="T4" fmla="*/ 2147483647 w 73"/>
                    <a:gd name="T5" fmla="*/ 2147483647 h 705"/>
                    <a:gd name="T6" fmla="*/ 0 w 73"/>
                    <a:gd name="T7" fmla="*/ 2147483647 h 705"/>
                    <a:gd name="T8" fmla="*/ 0 w 73"/>
                    <a:gd name="T9" fmla="*/ 2147483647 h 705"/>
                    <a:gd name="T10" fmla="*/ 0 w 73"/>
                    <a:gd name="T11" fmla="*/ 2147483647 h 705"/>
                    <a:gd name="T12" fmla="*/ 2147483647 w 73"/>
                    <a:gd name="T13" fmla="*/ 0 h 705"/>
                    <a:gd name="T14" fmla="*/ 2147483647 w 73"/>
                    <a:gd name="T15" fmla="*/ 0 h 705"/>
                    <a:gd name="T16" fmla="*/ 2147483647 w 73"/>
                    <a:gd name="T17" fmla="*/ 0 h 705"/>
                    <a:gd name="T18" fmla="*/ 2147483647 w 73"/>
                    <a:gd name="T19" fmla="*/ 0 h 705"/>
                    <a:gd name="T20" fmla="*/ 2147483647 w 73"/>
                    <a:gd name="T21" fmla="*/ 0 h 705"/>
                    <a:gd name="T22" fmla="*/ 2147483647 w 73"/>
                    <a:gd name="T23" fmla="*/ 2147483647 h 705"/>
                    <a:gd name="T24" fmla="*/ 2147483647 w 73"/>
                    <a:gd name="T25" fmla="*/ 2147483647 h 705"/>
                    <a:gd name="T26" fmla="*/ 2147483647 w 73"/>
                    <a:gd name="T27" fmla="*/ 2147483647 h 705"/>
                    <a:gd name="T28" fmla="*/ 2147483647 w 73"/>
                    <a:gd name="T29" fmla="*/ 2147483647 h 705"/>
                    <a:gd name="T30" fmla="*/ 2147483647 w 73"/>
                    <a:gd name="T31" fmla="*/ 2147483647 h 705"/>
                    <a:gd name="T32" fmla="*/ 2147483647 w 73"/>
                    <a:gd name="T33" fmla="*/ 2147483647 h 705"/>
                    <a:gd name="T34" fmla="*/ 2147483647 w 73"/>
                    <a:gd name="T35" fmla="*/ 2147483647 h 705"/>
                    <a:gd name="T36" fmla="*/ 2147483647 w 73"/>
                    <a:gd name="T37" fmla="*/ 2147483647 h 705"/>
                    <a:gd name="T38" fmla="*/ 2147483647 w 73"/>
                    <a:gd name="T39" fmla="*/ 2147483647 h 705"/>
                    <a:gd name="T40" fmla="*/ 2147483647 w 73"/>
                    <a:gd name="T41" fmla="*/ 2147483647 h 705"/>
                    <a:gd name="T42" fmla="*/ 2147483647 w 73"/>
                    <a:gd name="T43" fmla="*/ 2147483647 h 705"/>
                    <a:gd name="T44" fmla="*/ 2147483647 w 73"/>
                    <a:gd name="T45" fmla="*/ 2147483647 h 705"/>
                    <a:gd name="T46" fmla="*/ 2147483647 w 73"/>
                    <a:gd name="T47" fmla="*/ 2147483647 h 705"/>
                    <a:gd name="T48" fmla="*/ 2147483647 w 73"/>
                    <a:gd name="T49" fmla="*/ 2147483647 h 705"/>
                    <a:gd name="T50" fmla="*/ 2147483647 w 73"/>
                    <a:gd name="T51" fmla="*/ 2147483647 h 705"/>
                    <a:gd name="T52" fmla="*/ 2147483647 w 73"/>
                    <a:gd name="T53" fmla="*/ 2147483647 h 705"/>
                    <a:gd name="T54" fmla="*/ 2147483647 w 73"/>
                    <a:gd name="T55" fmla="*/ 2147483647 h 705"/>
                    <a:gd name="T56" fmla="*/ 2147483647 w 73"/>
                    <a:gd name="T57" fmla="*/ 2147483647 h 705"/>
                    <a:gd name="T58" fmla="*/ 2147483647 w 73"/>
                    <a:gd name="T59" fmla="*/ 2147483647 h 705"/>
                    <a:gd name="T60" fmla="*/ 2147483647 w 73"/>
                    <a:gd name="T61" fmla="*/ 2147483647 h 705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w 73"/>
                    <a:gd name="T94" fmla="*/ 0 h 705"/>
                    <a:gd name="T95" fmla="*/ 73 w 73"/>
                    <a:gd name="T96" fmla="*/ 705 h 705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T93" t="T94" r="T95" b="T96"/>
                  <a:pathLst>
                    <a:path w="73" h="705">
                      <a:moveTo>
                        <a:pt x="39" y="705"/>
                      </a:moveTo>
                      <a:cubicBezTo>
                        <a:pt x="33" y="705"/>
                        <a:pt x="29" y="705"/>
                        <a:pt x="29" y="705"/>
                      </a:cubicBezTo>
                      <a:cubicBezTo>
                        <a:pt x="29" y="705"/>
                        <a:pt x="29" y="705"/>
                        <a:pt x="29" y="705"/>
                      </a:cubicBezTo>
                      <a:cubicBezTo>
                        <a:pt x="13" y="705"/>
                        <a:pt x="0" y="692"/>
                        <a:pt x="0" y="676"/>
                      </a:cubicBezTo>
                      <a:cubicBezTo>
                        <a:pt x="0" y="676"/>
                        <a:pt x="0" y="676"/>
                        <a:pt x="0" y="676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29" y="0"/>
                        <a:pt x="29" y="0"/>
                        <a:pt x="29" y="0"/>
                      </a:cubicBezTo>
                      <a:cubicBezTo>
                        <a:pt x="29" y="0"/>
                        <a:pt x="43" y="0"/>
                        <a:pt x="6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9" y="0"/>
                        <a:pt x="73" y="3"/>
                        <a:pt x="73" y="8"/>
                      </a:cubicBezTo>
                      <a:cubicBezTo>
                        <a:pt x="73" y="8"/>
                        <a:pt x="73" y="8"/>
                        <a:pt x="73" y="8"/>
                      </a:cubicBezTo>
                      <a:cubicBezTo>
                        <a:pt x="73" y="12"/>
                        <a:pt x="69" y="16"/>
                        <a:pt x="65" y="16"/>
                      </a:cubicBezTo>
                      <a:cubicBezTo>
                        <a:pt x="65" y="16"/>
                        <a:pt x="65" y="16"/>
                        <a:pt x="65" y="16"/>
                      </a:cubicBezTo>
                      <a:cubicBezTo>
                        <a:pt x="54" y="16"/>
                        <a:pt x="45" y="16"/>
                        <a:pt x="39" y="16"/>
                      </a:cubicBezTo>
                      <a:cubicBezTo>
                        <a:pt x="39" y="16"/>
                        <a:pt x="39" y="16"/>
                        <a:pt x="39" y="16"/>
                      </a:cubicBezTo>
                      <a:cubicBezTo>
                        <a:pt x="33" y="16"/>
                        <a:pt x="29" y="16"/>
                        <a:pt x="29" y="16"/>
                      </a:cubicBezTo>
                      <a:cubicBezTo>
                        <a:pt x="29" y="16"/>
                        <a:pt x="29" y="16"/>
                        <a:pt x="29" y="16"/>
                      </a:cubicBezTo>
                      <a:cubicBezTo>
                        <a:pt x="22" y="16"/>
                        <a:pt x="16" y="22"/>
                        <a:pt x="16" y="29"/>
                      </a:cubicBezTo>
                      <a:cubicBezTo>
                        <a:pt x="16" y="29"/>
                        <a:pt x="16" y="29"/>
                        <a:pt x="16" y="29"/>
                      </a:cubicBezTo>
                      <a:cubicBezTo>
                        <a:pt x="16" y="676"/>
                        <a:pt x="16" y="676"/>
                        <a:pt x="16" y="676"/>
                      </a:cubicBezTo>
                      <a:cubicBezTo>
                        <a:pt x="16" y="683"/>
                        <a:pt x="22" y="689"/>
                        <a:pt x="29" y="689"/>
                      </a:cubicBezTo>
                      <a:cubicBezTo>
                        <a:pt x="29" y="689"/>
                        <a:pt x="29" y="689"/>
                        <a:pt x="29" y="689"/>
                      </a:cubicBezTo>
                      <a:cubicBezTo>
                        <a:pt x="29" y="689"/>
                        <a:pt x="43" y="689"/>
                        <a:pt x="65" y="689"/>
                      </a:cubicBezTo>
                      <a:cubicBezTo>
                        <a:pt x="65" y="689"/>
                        <a:pt x="65" y="689"/>
                        <a:pt x="65" y="689"/>
                      </a:cubicBezTo>
                      <a:cubicBezTo>
                        <a:pt x="69" y="689"/>
                        <a:pt x="73" y="693"/>
                        <a:pt x="73" y="697"/>
                      </a:cubicBezTo>
                      <a:cubicBezTo>
                        <a:pt x="73" y="697"/>
                        <a:pt x="73" y="697"/>
                        <a:pt x="73" y="697"/>
                      </a:cubicBezTo>
                      <a:cubicBezTo>
                        <a:pt x="73" y="701"/>
                        <a:pt x="69" y="705"/>
                        <a:pt x="65" y="705"/>
                      </a:cubicBezTo>
                      <a:cubicBezTo>
                        <a:pt x="65" y="705"/>
                        <a:pt x="65" y="705"/>
                        <a:pt x="65" y="705"/>
                      </a:cubicBezTo>
                      <a:cubicBezTo>
                        <a:pt x="54" y="705"/>
                        <a:pt x="45" y="705"/>
                        <a:pt x="39" y="70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 cmpd="sng" algn="ctr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1200" cap="none" spc="0" normalizeH="0" baseline="0" noProof="0">
                    <a:ln>
                      <a:noFill/>
                    </a:ln>
                    <a:solidFill>
                      <a:srgbClr val="58585A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endParaRPr>
                </a:p>
              </p:txBody>
            </p:sp>
            <p:sp>
              <p:nvSpPr>
                <p:cNvPr id="21" name="Freeform 13"/>
                <p:cNvSpPr>
                  <a:spLocks noChangeAspect="1"/>
                </p:cNvSpPr>
                <p:nvPr/>
              </p:nvSpPr>
              <p:spPr bwMode="auto">
                <a:xfrm>
                  <a:off x="825500" y="2209800"/>
                  <a:ext cx="274638" cy="2644775"/>
                </a:xfrm>
                <a:custGeom>
                  <a:avLst/>
                  <a:gdLst>
                    <a:gd name="T0" fmla="*/ 0 w 73"/>
                    <a:gd name="T1" fmla="*/ 2147483647 h 705"/>
                    <a:gd name="T2" fmla="*/ 2147483647 w 73"/>
                    <a:gd name="T3" fmla="*/ 2147483647 h 705"/>
                    <a:gd name="T4" fmla="*/ 2147483647 w 73"/>
                    <a:gd name="T5" fmla="*/ 2147483647 h 705"/>
                    <a:gd name="T6" fmla="*/ 2147483647 w 73"/>
                    <a:gd name="T7" fmla="*/ 2147483647 h 705"/>
                    <a:gd name="T8" fmla="*/ 2147483647 w 73"/>
                    <a:gd name="T9" fmla="*/ 2147483647 h 705"/>
                    <a:gd name="T10" fmla="*/ 2147483647 w 73"/>
                    <a:gd name="T11" fmla="*/ 2147483647 h 705"/>
                    <a:gd name="T12" fmla="*/ 2147483647 w 73"/>
                    <a:gd name="T13" fmla="*/ 2147483647 h 705"/>
                    <a:gd name="T14" fmla="*/ 2147483647 w 73"/>
                    <a:gd name="T15" fmla="*/ 2147483647 h 705"/>
                    <a:gd name="T16" fmla="*/ 2147483647 w 73"/>
                    <a:gd name="T17" fmla="*/ 2147483647 h 705"/>
                    <a:gd name="T18" fmla="*/ 2147483647 w 73"/>
                    <a:gd name="T19" fmla="*/ 2147483647 h 705"/>
                    <a:gd name="T20" fmla="*/ 2147483647 w 73"/>
                    <a:gd name="T21" fmla="*/ 2147483647 h 705"/>
                    <a:gd name="T22" fmla="*/ 2147483647 w 73"/>
                    <a:gd name="T23" fmla="*/ 2147483647 h 705"/>
                    <a:gd name="T24" fmla="*/ 0 w 73"/>
                    <a:gd name="T25" fmla="*/ 2147483647 h 705"/>
                    <a:gd name="T26" fmla="*/ 0 w 73"/>
                    <a:gd name="T27" fmla="*/ 2147483647 h 705"/>
                    <a:gd name="T28" fmla="*/ 2147483647 w 73"/>
                    <a:gd name="T29" fmla="*/ 0 h 705"/>
                    <a:gd name="T30" fmla="*/ 2147483647 w 73"/>
                    <a:gd name="T31" fmla="*/ 0 h 705"/>
                    <a:gd name="T32" fmla="*/ 2147483647 w 73"/>
                    <a:gd name="T33" fmla="*/ 0 h 705"/>
                    <a:gd name="T34" fmla="*/ 2147483647 w 73"/>
                    <a:gd name="T35" fmla="*/ 0 h 705"/>
                    <a:gd name="T36" fmla="*/ 2147483647 w 73"/>
                    <a:gd name="T37" fmla="*/ 2147483647 h 705"/>
                    <a:gd name="T38" fmla="*/ 2147483647 w 73"/>
                    <a:gd name="T39" fmla="*/ 2147483647 h 705"/>
                    <a:gd name="T40" fmla="*/ 2147483647 w 73"/>
                    <a:gd name="T41" fmla="*/ 2147483647 h 705"/>
                    <a:gd name="T42" fmla="*/ 2147483647 w 73"/>
                    <a:gd name="T43" fmla="*/ 2147483647 h 705"/>
                    <a:gd name="T44" fmla="*/ 2147483647 w 73"/>
                    <a:gd name="T45" fmla="*/ 2147483647 h 705"/>
                    <a:gd name="T46" fmla="*/ 2147483647 w 73"/>
                    <a:gd name="T47" fmla="*/ 2147483647 h 705"/>
                    <a:gd name="T48" fmla="*/ 2147483647 w 73"/>
                    <a:gd name="T49" fmla="*/ 2147483647 h 705"/>
                    <a:gd name="T50" fmla="*/ 0 w 73"/>
                    <a:gd name="T51" fmla="*/ 2147483647 h 705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73"/>
                    <a:gd name="T79" fmla="*/ 0 h 705"/>
                    <a:gd name="T80" fmla="*/ 73 w 73"/>
                    <a:gd name="T81" fmla="*/ 705 h 705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73" h="705">
                      <a:moveTo>
                        <a:pt x="0" y="697"/>
                      </a:moveTo>
                      <a:cubicBezTo>
                        <a:pt x="0" y="693"/>
                        <a:pt x="4" y="689"/>
                        <a:pt x="8" y="689"/>
                      </a:cubicBezTo>
                      <a:cubicBezTo>
                        <a:pt x="8" y="689"/>
                        <a:pt x="8" y="689"/>
                        <a:pt x="8" y="689"/>
                      </a:cubicBezTo>
                      <a:cubicBezTo>
                        <a:pt x="30" y="689"/>
                        <a:pt x="44" y="689"/>
                        <a:pt x="44" y="689"/>
                      </a:cubicBezTo>
                      <a:cubicBezTo>
                        <a:pt x="44" y="689"/>
                        <a:pt x="44" y="689"/>
                        <a:pt x="44" y="689"/>
                      </a:cubicBezTo>
                      <a:cubicBezTo>
                        <a:pt x="51" y="689"/>
                        <a:pt x="57" y="683"/>
                        <a:pt x="57" y="676"/>
                      </a:cubicBezTo>
                      <a:cubicBezTo>
                        <a:pt x="57" y="676"/>
                        <a:pt x="57" y="676"/>
                        <a:pt x="57" y="676"/>
                      </a:cubicBezTo>
                      <a:cubicBezTo>
                        <a:pt x="57" y="29"/>
                        <a:pt x="57" y="29"/>
                        <a:pt x="57" y="29"/>
                      </a:cubicBezTo>
                      <a:cubicBezTo>
                        <a:pt x="57" y="22"/>
                        <a:pt x="51" y="16"/>
                        <a:pt x="44" y="16"/>
                      </a:cubicBezTo>
                      <a:cubicBezTo>
                        <a:pt x="44" y="16"/>
                        <a:pt x="44" y="16"/>
                        <a:pt x="44" y="16"/>
                      </a:cubicBezTo>
                      <a:cubicBezTo>
                        <a:pt x="44" y="16"/>
                        <a:pt x="30" y="16"/>
                        <a:pt x="8" y="16"/>
                      </a:cubicBezTo>
                      <a:cubicBezTo>
                        <a:pt x="8" y="16"/>
                        <a:pt x="8" y="16"/>
                        <a:pt x="8" y="16"/>
                      </a:cubicBezTo>
                      <a:cubicBezTo>
                        <a:pt x="4" y="16"/>
                        <a:pt x="0" y="12"/>
                        <a:pt x="0" y="8"/>
                      </a:cubicBezTo>
                      <a:cubicBezTo>
                        <a:pt x="0" y="8"/>
                        <a:pt x="0" y="8"/>
                        <a:pt x="0" y="8"/>
                      </a:cubicBezTo>
                      <a:cubicBezTo>
                        <a:pt x="0" y="3"/>
                        <a:pt x="4" y="0"/>
                        <a:pt x="8" y="0"/>
                      </a:cubicBezTo>
                      <a:cubicBezTo>
                        <a:pt x="8" y="0"/>
                        <a:pt x="8" y="0"/>
                        <a:pt x="8" y="0"/>
                      </a:cubicBezTo>
                      <a:cubicBezTo>
                        <a:pt x="30" y="0"/>
                        <a:pt x="44" y="0"/>
                        <a:pt x="44" y="0"/>
                      </a:cubicBezTo>
                      <a:cubicBezTo>
                        <a:pt x="44" y="0"/>
                        <a:pt x="44" y="0"/>
                        <a:pt x="44" y="0"/>
                      </a:cubicBezTo>
                      <a:cubicBezTo>
                        <a:pt x="60" y="0"/>
                        <a:pt x="73" y="13"/>
                        <a:pt x="73" y="29"/>
                      </a:cubicBezTo>
                      <a:cubicBezTo>
                        <a:pt x="73" y="29"/>
                        <a:pt x="73" y="29"/>
                        <a:pt x="73" y="29"/>
                      </a:cubicBezTo>
                      <a:cubicBezTo>
                        <a:pt x="73" y="676"/>
                        <a:pt x="73" y="676"/>
                        <a:pt x="73" y="676"/>
                      </a:cubicBezTo>
                      <a:cubicBezTo>
                        <a:pt x="73" y="692"/>
                        <a:pt x="60" y="705"/>
                        <a:pt x="44" y="705"/>
                      </a:cubicBezTo>
                      <a:cubicBezTo>
                        <a:pt x="44" y="705"/>
                        <a:pt x="44" y="705"/>
                        <a:pt x="44" y="705"/>
                      </a:cubicBezTo>
                      <a:cubicBezTo>
                        <a:pt x="44" y="705"/>
                        <a:pt x="30" y="705"/>
                        <a:pt x="8" y="705"/>
                      </a:cubicBezTo>
                      <a:cubicBezTo>
                        <a:pt x="8" y="705"/>
                        <a:pt x="8" y="705"/>
                        <a:pt x="8" y="705"/>
                      </a:cubicBezTo>
                      <a:cubicBezTo>
                        <a:pt x="4" y="705"/>
                        <a:pt x="0" y="701"/>
                        <a:pt x="0" y="69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 cmpd="sng" algn="ctr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1200" cap="none" spc="0" normalizeH="0" baseline="0" noProof="0">
                    <a:ln>
                      <a:noFill/>
                    </a:ln>
                    <a:solidFill>
                      <a:srgbClr val="58585A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endParaRPr>
                </a:p>
              </p:txBody>
            </p:sp>
          </p:grpSp>
          <p:grpSp>
            <p:nvGrpSpPr>
              <p:cNvPr id="17" name="Group 16"/>
              <p:cNvGrpSpPr/>
              <p:nvPr/>
            </p:nvGrpSpPr>
            <p:grpSpPr>
              <a:xfrm>
                <a:off x="3982114" y="2921611"/>
                <a:ext cx="258583" cy="1433513"/>
                <a:chOff x="400050" y="2209800"/>
                <a:chExt cx="700088" cy="2644775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18" name="Freeform 3"/>
                <p:cNvSpPr>
                  <a:spLocks noChangeAspect="1"/>
                </p:cNvSpPr>
                <p:nvPr/>
              </p:nvSpPr>
              <p:spPr bwMode="auto">
                <a:xfrm>
                  <a:off x="400050" y="2209800"/>
                  <a:ext cx="274638" cy="2644775"/>
                </a:xfrm>
                <a:custGeom>
                  <a:avLst/>
                  <a:gdLst>
                    <a:gd name="T0" fmla="*/ 2147483647 w 73"/>
                    <a:gd name="T1" fmla="*/ 2147483647 h 705"/>
                    <a:gd name="T2" fmla="*/ 2147483647 w 73"/>
                    <a:gd name="T3" fmla="*/ 2147483647 h 705"/>
                    <a:gd name="T4" fmla="*/ 2147483647 w 73"/>
                    <a:gd name="T5" fmla="*/ 2147483647 h 705"/>
                    <a:gd name="T6" fmla="*/ 0 w 73"/>
                    <a:gd name="T7" fmla="*/ 2147483647 h 705"/>
                    <a:gd name="T8" fmla="*/ 0 w 73"/>
                    <a:gd name="T9" fmla="*/ 2147483647 h 705"/>
                    <a:gd name="T10" fmla="*/ 0 w 73"/>
                    <a:gd name="T11" fmla="*/ 2147483647 h 705"/>
                    <a:gd name="T12" fmla="*/ 2147483647 w 73"/>
                    <a:gd name="T13" fmla="*/ 0 h 705"/>
                    <a:gd name="T14" fmla="*/ 2147483647 w 73"/>
                    <a:gd name="T15" fmla="*/ 0 h 705"/>
                    <a:gd name="T16" fmla="*/ 2147483647 w 73"/>
                    <a:gd name="T17" fmla="*/ 0 h 705"/>
                    <a:gd name="T18" fmla="*/ 2147483647 w 73"/>
                    <a:gd name="T19" fmla="*/ 0 h 705"/>
                    <a:gd name="T20" fmla="*/ 2147483647 w 73"/>
                    <a:gd name="T21" fmla="*/ 0 h 705"/>
                    <a:gd name="T22" fmla="*/ 2147483647 w 73"/>
                    <a:gd name="T23" fmla="*/ 2147483647 h 705"/>
                    <a:gd name="T24" fmla="*/ 2147483647 w 73"/>
                    <a:gd name="T25" fmla="*/ 2147483647 h 705"/>
                    <a:gd name="T26" fmla="*/ 2147483647 w 73"/>
                    <a:gd name="T27" fmla="*/ 2147483647 h 705"/>
                    <a:gd name="T28" fmla="*/ 2147483647 w 73"/>
                    <a:gd name="T29" fmla="*/ 2147483647 h 705"/>
                    <a:gd name="T30" fmla="*/ 2147483647 w 73"/>
                    <a:gd name="T31" fmla="*/ 2147483647 h 705"/>
                    <a:gd name="T32" fmla="*/ 2147483647 w 73"/>
                    <a:gd name="T33" fmla="*/ 2147483647 h 705"/>
                    <a:gd name="T34" fmla="*/ 2147483647 w 73"/>
                    <a:gd name="T35" fmla="*/ 2147483647 h 705"/>
                    <a:gd name="T36" fmla="*/ 2147483647 w 73"/>
                    <a:gd name="T37" fmla="*/ 2147483647 h 705"/>
                    <a:gd name="T38" fmla="*/ 2147483647 w 73"/>
                    <a:gd name="T39" fmla="*/ 2147483647 h 705"/>
                    <a:gd name="T40" fmla="*/ 2147483647 w 73"/>
                    <a:gd name="T41" fmla="*/ 2147483647 h 705"/>
                    <a:gd name="T42" fmla="*/ 2147483647 w 73"/>
                    <a:gd name="T43" fmla="*/ 2147483647 h 705"/>
                    <a:gd name="T44" fmla="*/ 2147483647 w 73"/>
                    <a:gd name="T45" fmla="*/ 2147483647 h 705"/>
                    <a:gd name="T46" fmla="*/ 2147483647 w 73"/>
                    <a:gd name="T47" fmla="*/ 2147483647 h 705"/>
                    <a:gd name="T48" fmla="*/ 2147483647 w 73"/>
                    <a:gd name="T49" fmla="*/ 2147483647 h 705"/>
                    <a:gd name="T50" fmla="*/ 2147483647 w 73"/>
                    <a:gd name="T51" fmla="*/ 2147483647 h 705"/>
                    <a:gd name="T52" fmla="*/ 2147483647 w 73"/>
                    <a:gd name="T53" fmla="*/ 2147483647 h 705"/>
                    <a:gd name="T54" fmla="*/ 2147483647 w 73"/>
                    <a:gd name="T55" fmla="*/ 2147483647 h 705"/>
                    <a:gd name="T56" fmla="*/ 2147483647 w 73"/>
                    <a:gd name="T57" fmla="*/ 2147483647 h 705"/>
                    <a:gd name="T58" fmla="*/ 2147483647 w 73"/>
                    <a:gd name="T59" fmla="*/ 2147483647 h 705"/>
                    <a:gd name="T60" fmla="*/ 2147483647 w 73"/>
                    <a:gd name="T61" fmla="*/ 2147483647 h 705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w 73"/>
                    <a:gd name="T94" fmla="*/ 0 h 705"/>
                    <a:gd name="T95" fmla="*/ 73 w 73"/>
                    <a:gd name="T96" fmla="*/ 705 h 705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T93" t="T94" r="T95" b="T96"/>
                  <a:pathLst>
                    <a:path w="73" h="705">
                      <a:moveTo>
                        <a:pt x="39" y="705"/>
                      </a:moveTo>
                      <a:cubicBezTo>
                        <a:pt x="33" y="705"/>
                        <a:pt x="29" y="705"/>
                        <a:pt x="29" y="705"/>
                      </a:cubicBezTo>
                      <a:cubicBezTo>
                        <a:pt x="29" y="705"/>
                        <a:pt x="29" y="705"/>
                        <a:pt x="29" y="705"/>
                      </a:cubicBezTo>
                      <a:cubicBezTo>
                        <a:pt x="13" y="705"/>
                        <a:pt x="0" y="692"/>
                        <a:pt x="0" y="676"/>
                      </a:cubicBezTo>
                      <a:cubicBezTo>
                        <a:pt x="0" y="676"/>
                        <a:pt x="0" y="676"/>
                        <a:pt x="0" y="676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29" y="0"/>
                        <a:pt x="29" y="0"/>
                        <a:pt x="29" y="0"/>
                      </a:cubicBezTo>
                      <a:cubicBezTo>
                        <a:pt x="29" y="0"/>
                        <a:pt x="43" y="0"/>
                        <a:pt x="6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9" y="0"/>
                        <a:pt x="73" y="3"/>
                        <a:pt x="73" y="8"/>
                      </a:cubicBezTo>
                      <a:cubicBezTo>
                        <a:pt x="73" y="8"/>
                        <a:pt x="73" y="8"/>
                        <a:pt x="73" y="8"/>
                      </a:cubicBezTo>
                      <a:cubicBezTo>
                        <a:pt x="73" y="12"/>
                        <a:pt x="69" y="16"/>
                        <a:pt x="65" y="16"/>
                      </a:cubicBezTo>
                      <a:cubicBezTo>
                        <a:pt x="65" y="16"/>
                        <a:pt x="65" y="16"/>
                        <a:pt x="65" y="16"/>
                      </a:cubicBezTo>
                      <a:cubicBezTo>
                        <a:pt x="54" y="16"/>
                        <a:pt x="45" y="16"/>
                        <a:pt x="39" y="16"/>
                      </a:cubicBezTo>
                      <a:cubicBezTo>
                        <a:pt x="39" y="16"/>
                        <a:pt x="39" y="16"/>
                        <a:pt x="39" y="16"/>
                      </a:cubicBezTo>
                      <a:cubicBezTo>
                        <a:pt x="33" y="16"/>
                        <a:pt x="29" y="16"/>
                        <a:pt x="29" y="16"/>
                      </a:cubicBezTo>
                      <a:cubicBezTo>
                        <a:pt x="29" y="16"/>
                        <a:pt x="29" y="16"/>
                        <a:pt x="29" y="16"/>
                      </a:cubicBezTo>
                      <a:cubicBezTo>
                        <a:pt x="22" y="16"/>
                        <a:pt x="16" y="22"/>
                        <a:pt x="16" y="29"/>
                      </a:cubicBezTo>
                      <a:cubicBezTo>
                        <a:pt x="16" y="29"/>
                        <a:pt x="16" y="29"/>
                        <a:pt x="16" y="29"/>
                      </a:cubicBezTo>
                      <a:cubicBezTo>
                        <a:pt x="16" y="676"/>
                        <a:pt x="16" y="676"/>
                        <a:pt x="16" y="676"/>
                      </a:cubicBezTo>
                      <a:cubicBezTo>
                        <a:pt x="16" y="683"/>
                        <a:pt x="22" y="689"/>
                        <a:pt x="29" y="689"/>
                      </a:cubicBezTo>
                      <a:cubicBezTo>
                        <a:pt x="29" y="689"/>
                        <a:pt x="29" y="689"/>
                        <a:pt x="29" y="689"/>
                      </a:cubicBezTo>
                      <a:cubicBezTo>
                        <a:pt x="29" y="689"/>
                        <a:pt x="43" y="689"/>
                        <a:pt x="65" y="689"/>
                      </a:cubicBezTo>
                      <a:cubicBezTo>
                        <a:pt x="65" y="689"/>
                        <a:pt x="65" y="689"/>
                        <a:pt x="65" y="689"/>
                      </a:cubicBezTo>
                      <a:cubicBezTo>
                        <a:pt x="69" y="689"/>
                        <a:pt x="73" y="693"/>
                        <a:pt x="73" y="697"/>
                      </a:cubicBezTo>
                      <a:cubicBezTo>
                        <a:pt x="73" y="697"/>
                        <a:pt x="73" y="697"/>
                        <a:pt x="73" y="697"/>
                      </a:cubicBezTo>
                      <a:cubicBezTo>
                        <a:pt x="73" y="701"/>
                        <a:pt x="69" y="705"/>
                        <a:pt x="65" y="705"/>
                      </a:cubicBezTo>
                      <a:cubicBezTo>
                        <a:pt x="65" y="705"/>
                        <a:pt x="65" y="705"/>
                        <a:pt x="65" y="705"/>
                      </a:cubicBezTo>
                      <a:cubicBezTo>
                        <a:pt x="54" y="705"/>
                        <a:pt x="45" y="705"/>
                        <a:pt x="39" y="70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 cmpd="sng" algn="ctr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1200" cap="none" spc="0" normalizeH="0" baseline="0" noProof="0">
                    <a:ln>
                      <a:noFill/>
                    </a:ln>
                    <a:solidFill>
                      <a:srgbClr val="58585A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endParaRPr>
                </a:p>
              </p:txBody>
            </p:sp>
            <p:sp>
              <p:nvSpPr>
                <p:cNvPr id="19" name="Freeform 13"/>
                <p:cNvSpPr>
                  <a:spLocks noChangeAspect="1"/>
                </p:cNvSpPr>
                <p:nvPr/>
              </p:nvSpPr>
              <p:spPr bwMode="auto">
                <a:xfrm>
                  <a:off x="825500" y="2209800"/>
                  <a:ext cx="274638" cy="2644775"/>
                </a:xfrm>
                <a:custGeom>
                  <a:avLst/>
                  <a:gdLst>
                    <a:gd name="T0" fmla="*/ 0 w 73"/>
                    <a:gd name="T1" fmla="*/ 2147483647 h 705"/>
                    <a:gd name="T2" fmla="*/ 2147483647 w 73"/>
                    <a:gd name="T3" fmla="*/ 2147483647 h 705"/>
                    <a:gd name="T4" fmla="*/ 2147483647 w 73"/>
                    <a:gd name="T5" fmla="*/ 2147483647 h 705"/>
                    <a:gd name="T6" fmla="*/ 2147483647 w 73"/>
                    <a:gd name="T7" fmla="*/ 2147483647 h 705"/>
                    <a:gd name="T8" fmla="*/ 2147483647 w 73"/>
                    <a:gd name="T9" fmla="*/ 2147483647 h 705"/>
                    <a:gd name="T10" fmla="*/ 2147483647 w 73"/>
                    <a:gd name="T11" fmla="*/ 2147483647 h 705"/>
                    <a:gd name="T12" fmla="*/ 2147483647 w 73"/>
                    <a:gd name="T13" fmla="*/ 2147483647 h 705"/>
                    <a:gd name="T14" fmla="*/ 2147483647 w 73"/>
                    <a:gd name="T15" fmla="*/ 2147483647 h 705"/>
                    <a:gd name="T16" fmla="*/ 2147483647 w 73"/>
                    <a:gd name="T17" fmla="*/ 2147483647 h 705"/>
                    <a:gd name="T18" fmla="*/ 2147483647 w 73"/>
                    <a:gd name="T19" fmla="*/ 2147483647 h 705"/>
                    <a:gd name="T20" fmla="*/ 2147483647 w 73"/>
                    <a:gd name="T21" fmla="*/ 2147483647 h 705"/>
                    <a:gd name="T22" fmla="*/ 2147483647 w 73"/>
                    <a:gd name="T23" fmla="*/ 2147483647 h 705"/>
                    <a:gd name="T24" fmla="*/ 0 w 73"/>
                    <a:gd name="T25" fmla="*/ 2147483647 h 705"/>
                    <a:gd name="T26" fmla="*/ 0 w 73"/>
                    <a:gd name="T27" fmla="*/ 2147483647 h 705"/>
                    <a:gd name="T28" fmla="*/ 2147483647 w 73"/>
                    <a:gd name="T29" fmla="*/ 0 h 705"/>
                    <a:gd name="T30" fmla="*/ 2147483647 w 73"/>
                    <a:gd name="T31" fmla="*/ 0 h 705"/>
                    <a:gd name="T32" fmla="*/ 2147483647 w 73"/>
                    <a:gd name="T33" fmla="*/ 0 h 705"/>
                    <a:gd name="T34" fmla="*/ 2147483647 w 73"/>
                    <a:gd name="T35" fmla="*/ 0 h 705"/>
                    <a:gd name="T36" fmla="*/ 2147483647 w 73"/>
                    <a:gd name="T37" fmla="*/ 2147483647 h 705"/>
                    <a:gd name="T38" fmla="*/ 2147483647 w 73"/>
                    <a:gd name="T39" fmla="*/ 2147483647 h 705"/>
                    <a:gd name="T40" fmla="*/ 2147483647 w 73"/>
                    <a:gd name="T41" fmla="*/ 2147483647 h 705"/>
                    <a:gd name="T42" fmla="*/ 2147483647 w 73"/>
                    <a:gd name="T43" fmla="*/ 2147483647 h 705"/>
                    <a:gd name="T44" fmla="*/ 2147483647 w 73"/>
                    <a:gd name="T45" fmla="*/ 2147483647 h 705"/>
                    <a:gd name="T46" fmla="*/ 2147483647 w 73"/>
                    <a:gd name="T47" fmla="*/ 2147483647 h 705"/>
                    <a:gd name="T48" fmla="*/ 2147483647 w 73"/>
                    <a:gd name="T49" fmla="*/ 2147483647 h 705"/>
                    <a:gd name="T50" fmla="*/ 0 w 73"/>
                    <a:gd name="T51" fmla="*/ 2147483647 h 705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73"/>
                    <a:gd name="T79" fmla="*/ 0 h 705"/>
                    <a:gd name="T80" fmla="*/ 73 w 73"/>
                    <a:gd name="T81" fmla="*/ 705 h 705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73" h="705">
                      <a:moveTo>
                        <a:pt x="0" y="697"/>
                      </a:moveTo>
                      <a:cubicBezTo>
                        <a:pt x="0" y="693"/>
                        <a:pt x="4" y="689"/>
                        <a:pt x="8" y="689"/>
                      </a:cubicBezTo>
                      <a:cubicBezTo>
                        <a:pt x="8" y="689"/>
                        <a:pt x="8" y="689"/>
                        <a:pt x="8" y="689"/>
                      </a:cubicBezTo>
                      <a:cubicBezTo>
                        <a:pt x="30" y="689"/>
                        <a:pt x="44" y="689"/>
                        <a:pt x="44" y="689"/>
                      </a:cubicBezTo>
                      <a:cubicBezTo>
                        <a:pt x="44" y="689"/>
                        <a:pt x="44" y="689"/>
                        <a:pt x="44" y="689"/>
                      </a:cubicBezTo>
                      <a:cubicBezTo>
                        <a:pt x="51" y="689"/>
                        <a:pt x="57" y="683"/>
                        <a:pt x="57" y="676"/>
                      </a:cubicBezTo>
                      <a:cubicBezTo>
                        <a:pt x="57" y="676"/>
                        <a:pt x="57" y="676"/>
                        <a:pt x="57" y="676"/>
                      </a:cubicBezTo>
                      <a:cubicBezTo>
                        <a:pt x="57" y="29"/>
                        <a:pt x="57" y="29"/>
                        <a:pt x="57" y="29"/>
                      </a:cubicBezTo>
                      <a:cubicBezTo>
                        <a:pt x="57" y="22"/>
                        <a:pt x="51" y="16"/>
                        <a:pt x="44" y="16"/>
                      </a:cubicBezTo>
                      <a:cubicBezTo>
                        <a:pt x="44" y="16"/>
                        <a:pt x="44" y="16"/>
                        <a:pt x="44" y="16"/>
                      </a:cubicBezTo>
                      <a:cubicBezTo>
                        <a:pt x="44" y="16"/>
                        <a:pt x="30" y="16"/>
                        <a:pt x="8" y="16"/>
                      </a:cubicBezTo>
                      <a:cubicBezTo>
                        <a:pt x="8" y="16"/>
                        <a:pt x="8" y="16"/>
                        <a:pt x="8" y="16"/>
                      </a:cubicBezTo>
                      <a:cubicBezTo>
                        <a:pt x="4" y="16"/>
                        <a:pt x="0" y="12"/>
                        <a:pt x="0" y="8"/>
                      </a:cubicBezTo>
                      <a:cubicBezTo>
                        <a:pt x="0" y="8"/>
                        <a:pt x="0" y="8"/>
                        <a:pt x="0" y="8"/>
                      </a:cubicBezTo>
                      <a:cubicBezTo>
                        <a:pt x="0" y="3"/>
                        <a:pt x="4" y="0"/>
                        <a:pt x="8" y="0"/>
                      </a:cubicBezTo>
                      <a:cubicBezTo>
                        <a:pt x="8" y="0"/>
                        <a:pt x="8" y="0"/>
                        <a:pt x="8" y="0"/>
                      </a:cubicBezTo>
                      <a:cubicBezTo>
                        <a:pt x="30" y="0"/>
                        <a:pt x="44" y="0"/>
                        <a:pt x="44" y="0"/>
                      </a:cubicBezTo>
                      <a:cubicBezTo>
                        <a:pt x="44" y="0"/>
                        <a:pt x="44" y="0"/>
                        <a:pt x="44" y="0"/>
                      </a:cubicBezTo>
                      <a:cubicBezTo>
                        <a:pt x="60" y="0"/>
                        <a:pt x="73" y="13"/>
                        <a:pt x="73" y="29"/>
                      </a:cubicBezTo>
                      <a:cubicBezTo>
                        <a:pt x="73" y="29"/>
                        <a:pt x="73" y="29"/>
                        <a:pt x="73" y="29"/>
                      </a:cubicBezTo>
                      <a:cubicBezTo>
                        <a:pt x="73" y="676"/>
                        <a:pt x="73" y="676"/>
                        <a:pt x="73" y="676"/>
                      </a:cubicBezTo>
                      <a:cubicBezTo>
                        <a:pt x="73" y="692"/>
                        <a:pt x="60" y="705"/>
                        <a:pt x="44" y="705"/>
                      </a:cubicBezTo>
                      <a:cubicBezTo>
                        <a:pt x="44" y="705"/>
                        <a:pt x="44" y="705"/>
                        <a:pt x="44" y="705"/>
                      </a:cubicBezTo>
                      <a:cubicBezTo>
                        <a:pt x="44" y="705"/>
                        <a:pt x="30" y="705"/>
                        <a:pt x="8" y="705"/>
                      </a:cubicBezTo>
                      <a:cubicBezTo>
                        <a:pt x="8" y="705"/>
                        <a:pt x="8" y="705"/>
                        <a:pt x="8" y="705"/>
                      </a:cubicBezTo>
                      <a:cubicBezTo>
                        <a:pt x="4" y="705"/>
                        <a:pt x="0" y="701"/>
                        <a:pt x="0" y="69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 cmpd="sng" algn="ctr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1200" cap="none" spc="0" normalizeH="0" baseline="0" noProof="0">
                    <a:ln>
                      <a:noFill/>
                    </a:ln>
                    <a:solidFill>
                      <a:srgbClr val="58585A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endParaRPr>
                </a:p>
              </p:txBody>
            </p:sp>
          </p:grpSp>
        </p:grpSp>
        <p:grpSp>
          <p:nvGrpSpPr>
            <p:cNvPr id="9" name="Group 3"/>
            <p:cNvGrpSpPr>
              <a:grpSpLocks/>
            </p:cNvGrpSpPr>
            <p:nvPr/>
          </p:nvGrpSpPr>
          <p:grpSpPr bwMode="auto">
            <a:xfrm>
              <a:off x="2321750" y="3793343"/>
              <a:ext cx="1523116" cy="1095260"/>
              <a:chOff x="3165474" y="3123350"/>
              <a:chExt cx="1514223" cy="1089499"/>
            </a:xfrm>
          </p:grpSpPr>
          <p:sp>
            <p:nvSpPr>
              <p:cNvPr id="12" name="Freeform 8"/>
              <p:cNvSpPr>
                <a:spLocks noChangeAspect="1"/>
              </p:cNvSpPr>
              <p:nvPr/>
            </p:nvSpPr>
            <p:spPr bwMode="auto">
              <a:xfrm>
                <a:off x="3165474" y="3982077"/>
                <a:ext cx="1514223" cy="231519"/>
              </a:xfrm>
              <a:custGeom>
                <a:avLst/>
                <a:gdLst>
                  <a:gd name="T0" fmla="*/ 2147483647 w 532"/>
                  <a:gd name="T1" fmla="*/ 2147483647 h 105"/>
                  <a:gd name="T2" fmla="*/ 2147483647 w 532"/>
                  <a:gd name="T3" fmla="*/ 2147483647 h 105"/>
                  <a:gd name="T4" fmla="*/ 2147483647 w 532"/>
                  <a:gd name="T5" fmla="*/ 0 h 105"/>
                  <a:gd name="T6" fmla="*/ 2147483647 w 532"/>
                  <a:gd name="T7" fmla="*/ 0 h 105"/>
                  <a:gd name="T8" fmla="*/ 0 w 532"/>
                  <a:gd name="T9" fmla="*/ 2147483647 h 105"/>
                  <a:gd name="T10" fmla="*/ 0 w 532"/>
                  <a:gd name="T11" fmla="*/ 2147483647 h 105"/>
                  <a:gd name="T12" fmla="*/ 2147483647 w 532"/>
                  <a:gd name="T13" fmla="*/ 2147483647 h 105"/>
                  <a:gd name="T14" fmla="*/ 2147483647 w 532"/>
                  <a:gd name="T15" fmla="*/ 2147483647 h 105"/>
                  <a:gd name="T16" fmla="*/ 2147483647 w 532"/>
                  <a:gd name="T17" fmla="*/ 2147483647 h 105"/>
                  <a:gd name="T18" fmla="*/ 2147483647 w 532"/>
                  <a:gd name="T19" fmla="*/ 2147483647 h 105"/>
                  <a:gd name="T20" fmla="*/ 2147483647 w 532"/>
                  <a:gd name="T21" fmla="*/ 2147483647 h 10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532"/>
                  <a:gd name="T34" fmla="*/ 0 h 105"/>
                  <a:gd name="T35" fmla="*/ 532 w 532"/>
                  <a:gd name="T36" fmla="*/ 105 h 105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532" h="105">
                    <a:moveTo>
                      <a:pt x="527" y="47"/>
                    </a:moveTo>
                    <a:cubicBezTo>
                      <a:pt x="484" y="5"/>
                      <a:pt x="484" y="5"/>
                      <a:pt x="484" y="5"/>
                    </a:cubicBezTo>
                    <a:cubicBezTo>
                      <a:pt x="484" y="5"/>
                      <a:pt x="480" y="0"/>
                      <a:pt x="471" y="0"/>
                    </a:cubicBezTo>
                    <a:cubicBezTo>
                      <a:pt x="468" y="0"/>
                      <a:pt x="21" y="0"/>
                      <a:pt x="21" y="0"/>
                    </a:cubicBezTo>
                    <a:cubicBezTo>
                      <a:pt x="9" y="0"/>
                      <a:pt x="0" y="9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0" y="96"/>
                      <a:pt x="9" y="105"/>
                      <a:pt x="21" y="105"/>
                    </a:cubicBezTo>
                    <a:cubicBezTo>
                      <a:pt x="21" y="105"/>
                      <a:pt x="468" y="105"/>
                      <a:pt x="471" y="105"/>
                    </a:cubicBezTo>
                    <a:cubicBezTo>
                      <a:pt x="479" y="105"/>
                      <a:pt x="484" y="100"/>
                      <a:pt x="484" y="100"/>
                    </a:cubicBezTo>
                    <a:cubicBezTo>
                      <a:pt x="484" y="100"/>
                      <a:pt x="521" y="64"/>
                      <a:pt x="527" y="58"/>
                    </a:cubicBezTo>
                    <a:cubicBezTo>
                      <a:pt x="532" y="52"/>
                      <a:pt x="527" y="47"/>
                      <a:pt x="527" y="47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81818"/>
                  </a:solidFill>
                  <a:effectLst/>
                  <a:uLnTx/>
                  <a:uFillTx/>
                  <a:latin typeface="Ericsson Hilda"/>
                  <a:ea typeface="+mn-ea"/>
                  <a:cs typeface="+mn-cs"/>
                </a:endParaRPr>
              </a:p>
            </p:txBody>
          </p:sp>
          <p:sp>
            <p:nvSpPr>
              <p:cNvPr id="13" name="Freeform 8"/>
              <p:cNvSpPr>
                <a:spLocks noChangeAspect="1"/>
              </p:cNvSpPr>
              <p:nvPr/>
            </p:nvSpPr>
            <p:spPr bwMode="auto">
              <a:xfrm>
                <a:off x="3165474" y="3122604"/>
                <a:ext cx="1514223" cy="231519"/>
              </a:xfrm>
              <a:custGeom>
                <a:avLst/>
                <a:gdLst>
                  <a:gd name="T0" fmla="*/ 2147483647 w 532"/>
                  <a:gd name="T1" fmla="*/ 2147483647 h 105"/>
                  <a:gd name="T2" fmla="*/ 2147483647 w 532"/>
                  <a:gd name="T3" fmla="*/ 2147483647 h 105"/>
                  <a:gd name="T4" fmla="*/ 2147483647 w 532"/>
                  <a:gd name="T5" fmla="*/ 0 h 105"/>
                  <a:gd name="T6" fmla="*/ 2147483647 w 532"/>
                  <a:gd name="T7" fmla="*/ 0 h 105"/>
                  <a:gd name="T8" fmla="*/ 0 w 532"/>
                  <a:gd name="T9" fmla="*/ 2147483647 h 105"/>
                  <a:gd name="T10" fmla="*/ 0 w 532"/>
                  <a:gd name="T11" fmla="*/ 2147483647 h 105"/>
                  <a:gd name="T12" fmla="*/ 2147483647 w 532"/>
                  <a:gd name="T13" fmla="*/ 2147483647 h 105"/>
                  <a:gd name="T14" fmla="*/ 2147483647 w 532"/>
                  <a:gd name="T15" fmla="*/ 2147483647 h 105"/>
                  <a:gd name="T16" fmla="*/ 2147483647 w 532"/>
                  <a:gd name="T17" fmla="*/ 2147483647 h 105"/>
                  <a:gd name="T18" fmla="*/ 2147483647 w 532"/>
                  <a:gd name="T19" fmla="*/ 2147483647 h 105"/>
                  <a:gd name="T20" fmla="*/ 2147483647 w 532"/>
                  <a:gd name="T21" fmla="*/ 2147483647 h 10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532"/>
                  <a:gd name="T34" fmla="*/ 0 h 105"/>
                  <a:gd name="T35" fmla="*/ 532 w 532"/>
                  <a:gd name="T36" fmla="*/ 105 h 105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532" h="105">
                    <a:moveTo>
                      <a:pt x="527" y="47"/>
                    </a:moveTo>
                    <a:cubicBezTo>
                      <a:pt x="484" y="5"/>
                      <a:pt x="484" y="5"/>
                      <a:pt x="484" y="5"/>
                    </a:cubicBezTo>
                    <a:cubicBezTo>
                      <a:pt x="484" y="5"/>
                      <a:pt x="480" y="0"/>
                      <a:pt x="471" y="0"/>
                    </a:cubicBezTo>
                    <a:cubicBezTo>
                      <a:pt x="468" y="0"/>
                      <a:pt x="21" y="0"/>
                      <a:pt x="21" y="0"/>
                    </a:cubicBezTo>
                    <a:cubicBezTo>
                      <a:pt x="9" y="0"/>
                      <a:pt x="0" y="9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0" y="96"/>
                      <a:pt x="9" y="105"/>
                      <a:pt x="21" y="105"/>
                    </a:cubicBezTo>
                    <a:cubicBezTo>
                      <a:pt x="21" y="105"/>
                      <a:pt x="468" y="105"/>
                      <a:pt x="471" y="105"/>
                    </a:cubicBezTo>
                    <a:cubicBezTo>
                      <a:pt x="479" y="105"/>
                      <a:pt x="484" y="100"/>
                      <a:pt x="484" y="100"/>
                    </a:cubicBezTo>
                    <a:cubicBezTo>
                      <a:pt x="484" y="100"/>
                      <a:pt x="521" y="64"/>
                      <a:pt x="527" y="58"/>
                    </a:cubicBezTo>
                    <a:cubicBezTo>
                      <a:pt x="532" y="52"/>
                      <a:pt x="527" y="47"/>
                      <a:pt x="527" y="47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81818"/>
                  </a:solidFill>
                  <a:effectLst/>
                  <a:uLnTx/>
                  <a:uFillTx/>
                  <a:latin typeface="Ericsson Hilda"/>
                  <a:ea typeface="+mn-ea"/>
                  <a:cs typeface="+mn-cs"/>
                </a:endParaRPr>
              </a:p>
            </p:txBody>
          </p:sp>
          <p:sp>
            <p:nvSpPr>
              <p:cNvPr id="14" name="Freeform 8"/>
              <p:cNvSpPr>
                <a:spLocks noChangeAspect="1"/>
              </p:cNvSpPr>
              <p:nvPr/>
            </p:nvSpPr>
            <p:spPr bwMode="auto">
              <a:xfrm>
                <a:off x="3165474" y="3552340"/>
                <a:ext cx="1514223" cy="231519"/>
              </a:xfrm>
              <a:custGeom>
                <a:avLst/>
                <a:gdLst>
                  <a:gd name="T0" fmla="*/ 2147483647 w 532"/>
                  <a:gd name="T1" fmla="*/ 2147483647 h 105"/>
                  <a:gd name="T2" fmla="*/ 2147483647 w 532"/>
                  <a:gd name="T3" fmla="*/ 2147483647 h 105"/>
                  <a:gd name="T4" fmla="*/ 2147483647 w 532"/>
                  <a:gd name="T5" fmla="*/ 0 h 105"/>
                  <a:gd name="T6" fmla="*/ 2147483647 w 532"/>
                  <a:gd name="T7" fmla="*/ 0 h 105"/>
                  <a:gd name="T8" fmla="*/ 0 w 532"/>
                  <a:gd name="T9" fmla="*/ 2147483647 h 105"/>
                  <a:gd name="T10" fmla="*/ 0 w 532"/>
                  <a:gd name="T11" fmla="*/ 2147483647 h 105"/>
                  <a:gd name="T12" fmla="*/ 2147483647 w 532"/>
                  <a:gd name="T13" fmla="*/ 2147483647 h 105"/>
                  <a:gd name="T14" fmla="*/ 2147483647 w 532"/>
                  <a:gd name="T15" fmla="*/ 2147483647 h 105"/>
                  <a:gd name="T16" fmla="*/ 2147483647 w 532"/>
                  <a:gd name="T17" fmla="*/ 2147483647 h 105"/>
                  <a:gd name="T18" fmla="*/ 2147483647 w 532"/>
                  <a:gd name="T19" fmla="*/ 2147483647 h 105"/>
                  <a:gd name="T20" fmla="*/ 2147483647 w 532"/>
                  <a:gd name="T21" fmla="*/ 2147483647 h 10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532"/>
                  <a:gd name="T34" fmla="*/ 0 h 105"/>
                  <a:gd name="T35" fmla="*/ 532 w 532"/>
                  <a:gd name="T36" fmla="*/ 105 h 105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532" h="105">
                    <a:moveTo>
                      <a:pt x="527" y="47"/>
                    </a:moveTo>
                    <a:cubicBezTo>
                      <a:pt x="484" y="5"/>
                      <a:pt x="484" y="5"/>
                      <a:pt x="484" y="5"/>
                    </a:cubicBezTo>
                    <a:cubicBezTo>
                      <a:pt x="484" y="5"/>
                      <a:pt x="480" y="0"/>
                      <a:pt x="471" y="0"/>
                    </a:cubicBezTo>
                    <a:cubicBezTo>
                      <a:pt x="468" y="0"/>
                      <a:pt x="21" y="0"/>
                      <a:pt x="21" y="0"/>
                    </a:cubicBezTo>
                    <a:cubicBezTo>
                      <a:pt x="9" y="0"/>
                      <a:pt x="0" y="9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0" y="96"/>
                      <a:pt x="9" y="105"/>
                      <a:pt x="21" y="105"/>
                    </a:cubicBezTo>
                    <a:cubicBezTo>
                      <a:pt x="21" y="105"/>
                      <a:pt x="468" y="105"/>
                      <a:pt x="471" y="105"/>
                    </a:cubicBezTo>
                    <a:cubicBezTo>
                      <a:pt x="479" y="105"/>
                      <a:pt x="484" y="100"/>
                      <a:pt x="484" y="100"/>
                    </a:cubicBezTo>
                    <a:cubicBezTo>
                      <a:pt x="484" y="100"/>
                      <a:pt x="521" y="64"/>
                      <a:pt x="527" y="58"/>
                    </a:cubicBezTo>
                    <a:cubicBezTo>
                      <a:pt x="532" y="52"/>
                      <a:pt x="527" y="47"/>
                      <a:pt x="527" y="47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81818"/>
                  </a:solidFill>
                  <a:effectLst/>
                  <a:uLnTx/>
                  <a:uFillTx/>
                  <a:latin typeface="Ericsson Hilda"/>
                  <a:ea typeface="+mn-ea"/>
                  <a:cs typeface="+mn-cs"/>
                </a:endParaRPr>
              </a:p>
            </p:txBody>
          </p:sp>
        </p:grpSp>
        <p:sp>
          <p:nvSpPr>
            <p:cNvPr id="10" name="Freeform 2"/>
            <p:cNvSpPr>
              <a:spLocks noChangeAspect="1" noEditPoints="1"/>
            </p:cNvSpPr>
            <p:nvPr/>
          </p:nvSpPr>
          <p:spPr bwMode="auto">
            <a:xfrm>
              <a:off x="4746921" y="4060407"/>
              <a:ext cx="357629" cy="561134"/>
            </a:xfrm>
            <a:custGeom>
              <a:avLst/>
              <a:gdLst>
                <a:gd name="T0" fmla="*/ 2147483647 w 208"/>
                <a:gd name="T1" fmla="*/ 2147483647 h 325"/>
                <a:gd name="T2" fmla="*/ 2147483647 w 208"/>
                <a:gd name="T3" fmla="*/ 2147483647 h 325"/>
                <a:gd name="T4" fmla="*/ 2147483647 w 208"/>
                <a:gd name="T5" fmla="*/ 2147483647 h 325"/>
                <a:gd name="T6" fmla="*/ 2147483647 w 208"/>
                <a:gd name="T7" fmla="*/ 2147483647 h 325"/>
                <a:gd name="T8" fmla="*/ 2147483647 w 208"/>
                <a:gd name="T9" fmla="*/ 2147483647 h 325"/>
                <a:gd name="T10" fmla="*/ 2147483647 w 208"/>
                <a:gd name="T11" fmla="*/ 2147483647 h 325"/>
                <a:gd name="T12" fmla="*/ 2147483647 w 208"/>
                <a:gd name="T13" fmla="*/ 2147483647 h 325"/>
                <a:gd name="T14" fmla="*/ 2147483647 w 208"/>
                <a:gd name="T15" fmla="*/ 2147483647 h 325"/>
                <a:gd name="T16" fmla="*/ 2147483647 w 208"/>
                <a:gd name="T17" fmla="*/ 2147483647 h 325"/>
                <a:gd name="T18" fmla="*/ 2147483647 w 208"/>
                <a:gd name="T19" fmla="*/ 2147483647 h 325"/>
                <a:gd name="T20" fmla="*/ 2147483647 w 208"/>
                <a:gd name="T21" fmla="*/ 2147483647 h 325"/>
                <a:gd name="T22" fmla="*/ 2147483647 w 208"/>
                <a:gd name="T23" fmla="*/ 2147483647 h 325"/>
                <a:gd name="T24" fmla="*/ 2147483647 w 208"/>
                <a:gd name="T25" fmla="*/ 0 h 325"/>
                <a:gd name="T26" fmla="*/ 2147483647 w 208"/>
                <a:gd name="T27" fmla="*/ 2147483647 h 325"/>
                <a:gd name="T28" fmla="*/ 2147483647 w 208"/>
                <a:gd name="T29" fmla="*/ 2147483647 h 325"/>
                <a:gd name="T30" fmla="*/ 0 w 208"/>
                <a:gd name="T31" fmla="*/ 2147483647 h 325"/>
                <a:gd name="T32" fmla="*/ 0 w 208"/>
                <a:gd name="T33" fmla="*/ 2147483647 h 325"/>
                <a:gd name="T34" fmla="*/ 2147483647 w 208"/>
                <a:gd name="T35" fmla="*/ 2147483647 h 325"/>
                <a:gd name="T36" fmla="*/ 2147483647 w 208"/>
                <a:gd name="T37" fmla="*/ 2147483647 h 325"/>
                <a:gd name="T38" fmla="*/ 2147483647 w 208"/>
                <a:gd name="T39" fmla="*/ 2147483647 h 325"/>
                <a:gd name="T40" fmla="*/ 2147483647 w 208"/>
                <a:gd name="T41" fmla="*/ 2147483647 h 325"/>
                <a:gd name="T42" fmla="*/ 2147483647 w 208"/>
                <a:gd name="T43" fmla="*/ 2147483647 h 325"/>
                <a:gd name="T44" fmla="*/ 2147483647 w 208"/>
                <a:gd name="T45" fmla="*/ 2147483647 h 325"/>
                <a:gd name="T46" fmla="*/ 2147483647 w 208"/>
                <a:gd name="T47" fmla="*/ 2147483647 h 325"/>
                <a:gd name="T48" fmla="*/ 2147483647 w 208"/>
                <a:gd name="T49" fmla="*/ 2147483647 h 325"/>
                <a:gd name="T50" fmla="*/ 2147483647 w 208"/>
                <a:gd name="T51" fmla="*/ 2147483647 h 325"/>
                <a:gd name="T52" fmla="*/ 2147483647 w 208"/>
                <a:gd name="T53" fmla="*/ 2147483647 h 325"/>
                <a:gd name="T54" fmla="*/ 2147483647 w 208"/>
                <a:gd name="T55" fmla="*/ 2147483647 h 325"/>
                <a:gd name="T56" fmla="*/ 2147483647 w 208"/>
                <a:gd name="T57" fmla="*/ 2147483647 h 325"/>
                <a:gd name="T58" fmla="*/ 2147483647 w 208"/>
                <a:gd name="T59" fmla="*/ 2147483647 h 325"/>
                <a:gd name="T60" fmla="*/ 2147483647 w 208"/>
                <a:gd name="T61" fmla="*/ 2147483647 h 325"/>
                <a:gd name="T62" fmla="*/ 2147483647 w 208"/>
                <a:gd name="T63" fmla="*/ 2147483647 h 325"/>
                <a:gd name="T64" fmla="*/ 2147483647 w 208"/>
                <a:gd name="T65" fmla="*/ 2147483647 h 325"/>
                <a:gd name="T66" fmla="*/ 2147483647 w 208"/>
                <a:gd name="T67" fmla="*/ 2147483647 h 325"/>
                <a:gd name="T68" fmla="*/ 2147483647 w 208"/>
                <a:gd name="T69" fmla="*/ 2147483647 h 325"/>
                <a:gd name="T70" fmla="*/ 2147483647 w 208"/>
                <a:gd name="T71" fmla="*/ 2147483647 h 325"/>
                <a:gd name="T72" fmla="*/ 2147483647 w 208"/>
                <a:gd name="T73" fmla="*/ 2147483647 h 325"/>
                <a:gd name="T74" fmla="*/ 2147483647 w 208"/>
                <a:gd name="T75" fmla="*/ 2147483647 h 325"/>
                <a:gd name="T76" fmla="*/ 2147483647 w 208"/>
                <a:gd name="T77" fmla="*/ 2147483647 h 325"/>
                <a:gd name="T78" fmla="*/ 2147483647 w 208"/>
                <a:gd name="T79" fmla="*/ 2147483647 h 325"/>
                <a:gd name="T80" fmla="*/ 2147483647 w 208"/>
                <a:gd name="T81" fmla="*/ 2147483647 h 325"/>
                <a:gd name="T82" fmla="*/ 2147483647 w 208"/>
                <a:gd name="T83" fmla="*/ 2147483647 h 325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208" h="325">
                  <a:moveTo>
                    <a:pt x="162" y="146"/>
                  </a:moveTo>
                  <a:cubicBezTo>
                    <a:pt x="179" y="131"/>
                    <a:pt x="189" y="109"/>
                    <a:pt x="189" y="85"/>
                  </a:cubicBezTo>
                  <a:cubicBezTo>
                    <a:pt x="189" y="68"/>
                    <a:pt x="184" y="52"/>
                    <a:pt x="175" y="39"/>
                  </a:cubicBezTo>
                  <a:cubicBezTo>
                    <a:pt x="173" y="35"/>
                    <a:pt x="168" y="34"/>
                    <a:pt x="164" y="36"/>
                  </a:cubicBezTo>
                  <a:cubicBezTo>
                    <a:pt x="160" y="39"/>
                    <a:pt x="159" y="44"/>
                    <a:pt x="162" y="47"/>
                  </a:cubicBezTo>
                  <a:cubicBezTo>
                    <a:pt x="169" y="58"/>
                    <a:pt x="173" y="71"/>
                    <a:pt x="173" y="85"/>
                  </a:cubicBezTo>
                  <a:cubicBezTo>
                    <a:pt x="173" y="123"/>
                    <a:pt x="142" y="154"/>
                    <a:pt x="104" y="154"/>
                  </a:cubicBezTo>
                  <a:cubicBezTo>
                    <a:pt x="66" y="154"/>
                    <a:pt x="35" y="123"/>
                    <a:pt x="35" y="85"/>
                  </a:cubicBezTo>
                  <a:cubicBezTo>
                    <a:pt x="35" y="47"/>
                    <a:pt x="66" y="16"/>
                    <a:pt x="104" y="16"/>
                  </a:cubicBezTo>
                  <a:cubicBezTo>
                    <a:pt x="118" y="16"/>
                    <a:pt x="131" y="20"/>
                    <a:pt x="142" y="27"/>
                  </a:cubicBezTo>
                  <a:cubicBezTo>
                    <a:pt x="145" y="30"/>
                    <a:pt x="150" y="29"/>
                    <a:pt x="153" y="25"/>
                  </a:cubicBezTo>
                  <a:cubicBezTo>
                    <a:pt x="155" y="21"/>
                    <a:pt x="154" y="16"/>
                    <a:pt x="150" y="14"/>
                  </a:cubicBezTo>
                  <a:cubicBezTo>
                    <a:pt x="137" y="5"/>
                    <a:pt x="121" y="0"/>
                    <a:pt x="104" y="0"/>
                  </a:cubicBezTo>
                  <a:cubicBezTo>
                    <a:pt x="57" y="0"/>
                    <a:pt x="19" y="38"/>
                    <a:pt x="19" y="85"/>
                  </a:cubicBezTo>
                  <a:cubicBezTo>
                    <a:pt x="19" y="109"/>
                    <a:pt x="30" y="131"/>
                    <a:pt x="46" y="146"/>
                  </a:cubicBezTo>
                  <a:cubicBezTo>
                    <a:pt x="25" y="159"/>
                    <a:pt x="0" y="181"/>
                    <a:pt x="0" y="220"/>
                  </a:cubicBezTo>
                  <a:cubicBezTo>
                    <a:pt x="0" y="304"/>
                    <a:pt x="0" y="304"/>
                    <a:pt x="0" y="304"/>
                  </a:cubicBezTo>
                  <a:cubicBezTo>
                    <a:pt x="0" y="313"/>
                    <a:pt x="6" y="325"/>
                    <a:pt x="21" y="325"/>
                  </a:cubicBezTo>
                  <a:cubicBezTo>
                    <a:pt x="187" y="325"/>
                    <a:pt x="187" y="325"/>
                    <a:pt x="187" y="325"/>
                  </a:cubicBezTo>
                  <a:cubicBezTo>
                    <a:pt x="196" y="325"/>
                    <a:pt x="208" y="320"/>
                    <a:pt x="208" y="304"/>
                  </a:cubicBezTo>
                  <a:cubicBezTo>
                    <a:pt x="208" y="220"/>
                    <a:pt x="208" y="220"/>
                    <a:pt x="208" y="220"/>
                  </a:cubicBezTo>
                  <a:cubicBezTo>
                    <a:pt x="208" y="181"/>
                    <a:pt x="183" y="159"/>
                    <a:pt x="162" y="146"/>
                  </a:cubicBezTo>
                  <a:close/>
                  <a:moveTo>
                    <a:pt x="192" y="304"/>
                  </a:moveTo>
                  <a:cubicBezTo>
                    <a:pt x="192" y="306"/>
                    <a:pt x="192" y="309"/>
                    <a:pt x="187" y="309"/>
                  </a:cubicBezTo>
                  <a:cubicBezTo>
                    <a:pt x="174" y="309"/>
                    <a:pt x="174" y="309"/>
                    <a:pt x="174" y="309"/>
                  </a:cubicBezTo>
                  <a:cubicBezTo>
                    <a:pt x="174" y="212"/>
                    <a:pt x="174" y="212"/>
                    <a:pt x="174" y="212"/>
                  </a:cubicBezTo>
                  <a:cubicBezTo>
                    <a:pt x="174" y="208"/>
                    <a:pt x="170" y="204"/>
                    <a:pt x="166" y="204"/>
                  </a:cubicBezTo>
                  <a:cubicBezTo>
                    <a:pt x="161" y="204"/>
                    <a:pt x="158" y="208"/>
                    <a:pt x="158" y="212"/>
                  </a:cubicBezTo>
                  <a:cubicBezTo>
                    <a:pt x="158" y="309"/>
                    <a:pt x="158" y="309"/>
                    <a:pt x="158" y="309"/>
                  </a:cubicBezTo>
                  <a:cubicBezTo>
                    <a:pt x="51" y="309"/>
                    <a:pt x="51" y="309"/>
                    <a:pt x="51" y="309"/>
                  </a:cubicBezTo>
                  <a:cubicBezTo>
                    <a:pt x="51" y="212"/>
                    <a:pt x="51" y="212"/>
                    <a:pt x="51" y="212"/>
                  </a:cubicBezTo>
                  <a:cubicBezTo>
                    <a:pt x="51" y="208"/>
                    <a:pt x="47" y="204"/>
                    <a:pt x="43" y="204"/>
                  </a:cubicBezTo>
                  <a:cubicBezTo>
                    <a:pt x="38" y="204"/>
                    <a:pt x="35" y="208"/>
                    <a:pt x="35" y="212"/>
                  </a:cubicBezTo>
                  <a:cubicBezTo>
                    <a:pt x="35" y="309"/>
                    <a:pt x="35" y="309"/>
                    <a:pt x="35" y="309"/>
                  </a:cubicBezTo>
                  <a:cubicBezTo>
                    <a:pt x="21" y="309"/>
                    <a:pt x="21" y="309"/>
                    <a:pt x="21" y="309"/>
                  </a:cubicBezTo>
                  <a:cubicBezTo>
                    <a:pt x="20" y="309"/>
                    <a:pt x="16" y="309"/>
                    <a:pt x="16" y="304"/>
                  </a:cubicBezTo>
                  <a:cubicBezTo>
                    <a:pt x="16" y="220"/>
                    <a:pt x="16" y="220"/>
                    <a:pt x="16" y="220"/>
                  </a:cubicBezTo>
                  <a:cubicBezTo>
                    <a:pt x="16" y="186"/>
                    <a:pt x="42" y="166"/>
                    <a:pt x="60" y="157"/>
                  </a:cubicBezTo>
                  <a:cubicBezTo>
                    <a:pt x="73" y="165"/>
                    <a:pt x="88" y="170"/>
                    <a:pt x="104" y="170"/>
                  </a:cubicBezTo>
                  <a:cubicBezTo>
                    <a:pt x="120" y="170"/>
                    <a:pt x="136" y="165"/>
                    <a:pt x="148" y="157"/>
                  </a:cubicBezTo>
                  <a:cubicBezTo>
                    <a:pt x="166" y="166"/>
                    <a:pt x="192" y="186"/>
                    <a:pt x="192" y="220"/>
                  </a:cubicBezTo>
                  <a:lnTo>
                    <a:pt x="192" y="304"/>
                  </a:lnTo>
                  <a:close/>
                </a:path>
              </a:pathLst>
            </a:custGeom>
            <a:solidFill>
              <a:srgbClr val="FFFFFF"/>
            </a:solidFill>
            <a:ln w="952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Ericsson Hilda"/>
                <a:ea typeface="+mn-ea"/>
                <a:cs typeface="+mn-cs"/>
              </a:endParaRPr>
            </a:p>
          </p:txBody>
        </p:sp>
        <p:sp>
          <p:nvSpPr>
            <p:cNvPr id="11" name="Freeform 62"/>
            <p:cNvSpPr>
              <a:spLocks noChangeAspect="1"/>
            </p:cNvSpPr>
            <p:nvPr/>
          </p:nvSpPr>
          <p:spPr bwMode="auto">
            <a:xfrm rot="5400000">
              <a:off x="3591288" y="4003302"/>
              <a:ext cx="1409210" cy="675343"/>
            </a:xfrm>
            <a:custGeom>
              <a:avLst/>
              <a:gdLst>
                <a:gd name="T0" fmla="*/ 2147483647 w 717"/>
                <a:gd name="T1" fmla="*/ 2147483647 h 211"/>
                <a:gd name="T2" fmla="*/ 2147483647 w 717"/>
                <a:gd name="T3" fmla="*/ 2147483647 h 211"/>
                <a:gd name="T4" fmla="*/ 2147483647 w 717"/>
                <a:gd name="T5" fmla="*/ 0 h 211"/>
                <a:gd name="T6" fmla="*/ 2147483647 w 717"/>
                <a:gd name="T7" fmla="*/ 2147483647 h 211"/>
                <a:gd name="T8" fmla="*/ 2147483647 w 717"/>
                <a:gd name="T9" fmla="*/ 2147483647 h 211"/>
                <a:gd name="T10" fmla="*/ 0 w 717"/>
                <a:gd name="T11" fmla="*/ 2147483647 h 211"/>
                <a:gd name="T12" fmla="*/ 0 w 717"/>
                <a:gd name="T13" fmla="*/ 2147483647 h 211"/>
                <a:gd name="T14" fmla="*/ 2147483647 w 717"/>
                <a:gd name="T15" fmla="*/ 2147483647 h 211"/>
                <a:gd name="T16" fmla="*/ 2147483647 w 717"/>
                <a:gd name="T17" fmla="*/ 2147483647 h 211"/>
                <a:gd name="T18" fmla="*/ 2147483647 w 717"/>
                <a:gd name="T19" fmla="*/ 2147483647 h 211"/>
                <a:gd name="T20" fmla="*/ 2147483647 w 717"/>
                <a:gd name="T21" fmla="*/ 2147483647 h 211"/>
                <a:gd name="T22" fmla="*/ 2147483647 w 717"/>
                <a:gd name="T23" fmla="*/ 2147483647 h 21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717"/>
                <a:gd name="T37" fmla="*/ 0 h 211"/>
                <a:gd name="T38" fmla="*/ 717 w 717"/>
                <a:gd name="T39" fmla="*/ 211 h 21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717" h="211">
                  <a:moveTo>
                    <a:pt x="695" y="95"/>
                  </a:moveTo>
                  <a:cubicBezTo>
                    <a:pt x="375" y="2"/>
                    <a:pt x="375" y="2"/>
                    <a:pt x="375" y="2"/>
                  </a:cubicBezTo>
                  <a:cubicBezTo>
                    <a:pt x="375" y="2"/>
                    <a:pt x="369" y="0"/>
                    <a:pt x="358" y="0"/>
                  </a:cubicBezTo>
                  <a:cubicBezTo>
                    <a:pt x="348" y="0"/>
                    <a:pt x="341" y="2"/>
                    <a:pt x="341" y="2"/>
                  </a:cubicBezTo>
                  <a:cubicBezTo>
                    <a:pt x="21" y="95"/>
                    <a:pt x="21" y="95"/>
                    <a:pt x="21" y="95"/>
                  </a:cubicBezTo>
                  <a:cubicBezTo>
                    <a:pt x="21" y="95"/>
                    <a:pt x="0" y="100"/>
                    <a:pt x="0" y="118"/>
                  </a:cubicBezTo>
                  <a:cubicBezTo>
                    <a:pt x="0" y="125"/>
                    <a:pt x="0" y="176"/>
                    <a:pt x="0" y="190"/>
                  </a:cubicBezTo>
                  <a:cubicBezTo>
                    <a:pt x="0" y="202"/>
                    <a:pt x="10" y="211"/>
                    <a:pt x="21" y="211"/>
                  </a:cubicBezTo>
                  <a:cubicBezTo>
                    <a:pt x="695" y="211"/>
                    <a:pt x="695" y="211"/>
                    <a:pt x="695" y="211"/>
                  </a:cubicBezTo>
                  <a:cubicBezTo>
                    <a:pt x="707" y="211"/>
                    <a:pt x="717" y="202"/>
                    <a:pt x="717" y="190"/>
                  </a:cubicBezTo>
                  <a:cubicBezTo>
                    <a:pt x="717" y="175"/>
                    <a:pt x="717" y="125"/>
                    <a:pt x="717" y="118"/>
                  </a:cubicBezTo>
                  <a:cubicBezTo>
                    <a:pt x="717" y="100"/>
                    <a:pt x="695" y="95"/>
                    <a:pt x="695" y="95"/>
                  </a:cubicBezTo>
                  <a:close/>
                </a:path>
              </a:pathLst>
            </a:custGeom>
            <a:solidFill>
              <a:srgbClr val="FFFFFF"/>
            </a:solidFill>
            <a:ln w="38100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Ericsson Hilda"/>
                <a:ea typeface="+mn-ea"/>
                <a:cs typeface="+mn-cs"/>
              </a:endParaRPr>
            </a:p>
          </p:txBody>
        </p:sp>
      </p:grpSp>
      <p:sp>
        <p:nvSpPr>
          <p:cNvPr id="24" name="Freeform 15" descr="bpct-blend5"/>
          <p:cNvSpPr>
            <a:spLocks noChangeAspect="1" noEditPoints="1"/>
          </p:cNvSpPr>
          <p:nvPr/>
        </p:nvSpPr>
        <p:spPr bwMode="auto">
          <a:xfrm>
            <a:off x="5962534" y="2118698"/>
            <a:ext cx="535247" cy="381408"/>
          </a:xfrm>
          <a:custGeom>
            <a:avLst/>
            <a:gdLst>
              <a:gd name="T0" fmla="*/ 2147483647 w 503"/>
              <a:gd name="T1" fmla="*/ 2147483647 h 415"/>
              <a:gd name="T2" fmla="*/ 2147483647 w 503"/>
              <a:gd name="T3" fmla="*/ 2147483647 h 415"/>
              <a:gd name="T4" fmla="*/ 2147483647 w 503"/>
              <a:gd name="T5" fmla="*/ 2147483647 h 415"/>
              <a:gd name="T6" fmla="*/ 2147483647 w 503"/>
              <a:gd name="T7" fmla="*/ 2147483647 h 415"/>
              <a:gd name="T8" fmla="*/ 2147483647 w 503"/>
              <a:gd name="T9" fmla="*/ 2147483647 h 415"/>
              <a:gd name="T10" fmla="*/ 2147483647 w 503"/>
              <a:gd name="T11" fmla="*/ 2147483647 h 415"/>
              <a:gd name="T12" fmla="*/ 2147483647 w 503"/>
              <a:gd name="T13" fmla="*/ 2147483647 h 415"/>
              <a:gd name="T14" fmla="*/ 2147483647 w 503"/>
              <a:gd name="T15" fmla="*/ 2147483647 h 415"/>
              <a:gd name="T16" fmla="*/ 2147483647 w 503"/>
              <a:gd name="T17" fmla="*/ 2147483647 h 415"/>
              <a:gd name="T18" fmla="*/ 2147483647 w 503"/>
              <a:gd name="T19" fmla="*/ 2147483647 h 415"/>
              <a:gd name="T20" fmla="*/ 2147483647 w 503"/>
              <a:gd name="T21" fmla="*/ 2147483647 h 415"/>
              <a:gd name="T22" fmla="*/ 2147483647 w 503"/>
              <a:gd name="T23" fmla="*/ 2147483647 h 415"/>
              <a:gd name="T24" fmla="*/ 2147483647 w 503"/>
              <a:gd name="T25" fmla="*/ 2147483647 h 415"/>
              <a:gd name="T26" fmla="*/ 2147483647 w 503"/>
              <a:gd name="T27" fmla="*/ 2147483647 h 415"/>
              <a:gd name="T28" fmla="*/ 2147483647 w 503"/>
              <a:gd name="T29" fmla="*/ 2147483647 h 415"/>
              <a:gd name="T30" fmla="*/ 2147483647 w 503"/>
              <a:gd name="T31" fmla="*/ 2147483647 h 415"/>
              <a:gd name="T32" fmla="*/ 2147483647 w 503"/>
              <a:gd name="T33" fmla="*/ 2147483647 h 415"/>
              <a:gd name="T34" fmla="*/ 2147483647 w 503"/>
              <a:gd name="T35" fmla="*/ 2147483647 h 415"/>
              <a:gd name="T36" fmla="*/ 2147483647 w 503"/>
              <a:gd name="T37" fmla="*/ 2147483647 h 415"/>
              <a:gd name="T38" fmla="*/ 2147483647 w 503"/>
              <a:gd name="T39" fmla="*/ 2147483647 h 415"/>
              <a:gd name="T40" fmla="*/ 2147483647 w 503"/>
              <a:gd name="T41" fmla="*/ 2147483647 h 415"/>
              <a:gd name="T42" fmla="*/ 0 w 503"/>
              <a:gd name="T43" fmla="*/ 2147483647 h 415"/>
              <a:gd name="T44" fmla="*/ 2147483647 w 503"/>
              <a:gd name="T45" fmla="*/ 2147483647 h 415"/>
              <a:gd name="T46" fmla="*/ 2147483647 w 503"/>
              <a:gd name="T47" fmla="*/ 2147483647 h 415"/>
              <a:gd name="T48" fmla="*/ 2147483647 w 503"/>
              <a:gd name="T49" fmla="*/ 2147483647 h 415"/>
              <a:gd name="T50" fmla="*/ 2147483647 w 503"/>
              <a:gd name="T51" fmla="*/ 2147483647 h 415"/>
              <a:gd name="T52" fmla="*/ 2147483647 w 503"/>
              <a:gd name="T53" fmla="*/ 2147483647 h 415"/>
              <a:gd name="T54" fmla="*/ 2147483647 w 503"/>
              <a:gd name="T55" fmla="*/ 2147483647 h 415"/>
              <a:gd name="T56" fmla="*/ 2147483647 w 503"/>
              <a:gd name="T57" fmla="*/ 2147483647 h 415"/>
              <a:gd name="T58" fmla="*/ 2147483647 w 503"/>
              <a:gd name="T59" fmla="*/ 2147483647 h 415"/>
              <a:gd name="T60" fmla="*/ 2147483647 w 503"/>
              <a:gd name="T61" fmla="*/ 2147483647 h 415"/>
              <a:gd name="T62" fmla="*/ 2147483647 w 503"/>
              <a:gd name="T63" fmla="*/ 2147483647 h 415"/>
              <a:gd name="T64" fmla="*/ 2147483647 w 503"/>
              <a:gd name="T65" fmla="*/ 2147483647 h 415"/>
              <a:gd name="T66" fmla="*/ 2147483647 w 503"/>
              <a:gd name="T67" fmla="*/ 2147483647 h 415"/>
              <a:gd name="T68" fmla="*/ 2147483647 w 503"/>
              <a:gd name="T69" fmla="*/ 2147483647 h 415"/>
              <a:gd name="T70" fmla="*/ 2147483647 w 503"/>
              <a:gd name="T71" fmla="*/ 2147483647 h 415"/>
              <a:gd name="T72" fmla="*/ 2147483647 w 503"/>
              <a:gd name="T73" fmla="*/ 2147483647 h 415"/>
              <a:gd name="T74" fmla="*/ 2147483647 w 503"/>
              <a:gd name="T75" fmla="*/ 2147483647 h 415"/>
              <a:gd name="T76" fmla="*/ 2147483647 w 503"/>
              <a:gd name="T77" fmla="*/ 2147483647 h 415"/>
              <a:gd name="T78" fmla="*/ 2147483647 w 503"/>
              <a:gd name="T79" fmla="*/ 2147483647 h 415"/>
              <a:gd name="T80" fmla="*/ 2147483647 w 503"/>
              <a:gd name="T81" fmla="*/ 2147483647 h 415"/>
              <a:gd name="T82" fmla="*/ 2147483647 w 503"/>
              <a:gd name="T83" fmla="*/ 2147483647 h 415"/>
              <a:gd name="T84" fmla="*/ 2147483647 w 503"/>
              <a:gd name="T85" fmla="*/ 2147483647 h 415"/>
              <a:gd name="T86" fmla="*/ 2147483647 w 503"/>
              <a:gd name="T87" fmla="*/ 2147483647 h 415"/>
              <a:gd name="T88" fmla="*/ 2147483647 w 503"/>
              <a:gd name="T89" fmla="*/ 2147483647 h 415"/>
              <a:gd name="T90" fmla="*/ 2147483647 w 503"/>
              <a:gd name="T91" fmla="*/ 2147483647 h 415"/>
              <a:gd name="T92" fmla="*/ 2147483647 w 503"/>
              <a:gd name="T93" fmla="*/ 2147483647 h 415"/>
              <a:gd name="T94" fmla="*/ 2147483647 w 503"/>
              <a:gd name="T95" fmla="*/ 2147483647 h 415"/>
              <a:gd name="T96" fmla="*/ 2147483647 w 503"/>
              <a:gd name="T97" fmla="*/ 2147483647 h 415"/>
              <a:gd name="T98" fmla="*/ 2147483647 w 503"/>
              <a:gd name="T99" fmla="*/ 2147483647 h 415"/>
              <a:gd name="T100" fmla="*/ 2147483647 w 503"/>
              <a:gd name="T101" fmla="*/ 2147483647 h 415"/>
              <a:gd name="T102" fmla="*/ 2147483647 w 503"/>
              <a:gd name="T103" fmla="*/ 2147483647 h 415"/>
              <a:gd name="T104" fmla="*/ 2147483647 w 503"/>
              <a:gd name="T105" fmla="*/ 2147483647 h 415"/>
              <a:gd name="T106" fmla="*/ 2147483647 w 503"/>
              <a:gd name="T107" fmla="*/ 2147483647 h 415"/>
              <a:gd name="T108" fmla="*/ 2147483647 w 503"/>
              <a:gd name="T109" fmla="*/ 2147483647 h 415"/>
              <a:gd name="T110" fmla="*/ 2147483647 w 503"/>
              <a:gd name="T111" fmla="*/ 2147483647 h 415"/>
              <a:gd name="T112" fmla="*/ 2147483647 w 503"/>
              <a:gd name="T113" fmla="*/ 2147483647 h 415"/>
              <a:gd name="T114" fmla="*/ 2147483647 w 503"/>
              <a:gd name="T115" fmla="*/ 2147483647 h 415"/>
              <a:gd name="T116" fmla="*/ 2147483647 w 503"/>
              <a:gd name="T117" fmla="*/ 2147483647 h 415"/>
              <a:gd name="T118" fmla="*/ 2147483647 w 503"/>
              <a:gd name="T119" fmla="*/ 2147483647 h 415"/>
              <a:gd name="T120" fmla="*/ 2147483647 w 503"/>
              <a:gd name="T121" fmla="*/ 2147483647 h 415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503" h="415">
                <a:moveTo>
                  <a:pt x="495" y="251"/>
                </a:moveTo>
                <a:cubicBezTo>
                  <a:pt x="491" y="251"/>
                  <a:pt x="487" y="254"/>
                  <a:pt x="487" y="259"/>
                </a:cubicBezTo>
                <a:cubicBezTo>
                  <a:pt x="487" y="341"/>
                  <a:pt x="487" y="341"/>
                  <a:pt x="487" y="341"/>
                </a:cubicBezTo>
                <a:cubicBezTo>
                  <a:pt x="381" y="394"/>
                  <a:pt x="381" y="394"/>
                  <a:pt x="381" y="394"/>
                </a:cubicBezTo>
                <a:cubicBezTo>
                  <a:pt x="381" y="259"/>
                  <a:pt x="381" y="259"/>
                  <a:pt x="381" y="259"/>
                </a:cubicBezTo>
                <a:cubicBezTo>
                  <a:pt x="487" y="206"/>
                  <a:pt x="487" y="206"/>
                  <a:pt x="487" y="206"/>
                </a:cubicBezTo>
                <a:cubicBezTo>
                  <a:pt x="487" y="227"/>
                  <a:pt x="487" y="227"/>
                  <a:pt x="487" y="227"/>
                </a:cubicBezTo>
                <a:cubicBezTo>
                  <a:pt x="487" y="231"/>
                  <a:pt x="491" y="235"/>
                  <a:pt x="495" y="235"/>
                </a:cubicBezTo>
                <a:cubicBezTo>
                  <a:pt x="500" y="235"/>
                  <a:pt x="503" y="231"/>
                  <a:pt x="503" y="227"/>
                </a:cubicBezTo>
                <a:cubicBezTo>
                  <a:pt x="503" y="227"/>
                  <a:pt x="503" y="227"/>
                  <a:pt x="503" y="227"/>
                </a:cubicBezTo>
                <a:cubicBezTo>
                  <a:pt x="503" y="193"/>
                  <a:pt x="503" y="193"/>
                  <a:pt x="503" y="193"/>
                </a:cubicBezTo>
                <a:cubicBezTo>
                  <a:pt x="503" y="193"/>
                  <a:pt x="503" y="193"/>
                  <a:pt x="503" y="193"/>
                </a:cubicBezTo>
                <a:cubicBezTo>
                  <a:pt x="503" y="192"/>
                  <a:pt x="503" y="192"/>
                  <a:pt x="503" y="191"/>
                </a:cubicBezTo>
                <a:cubicBezTo>
                  <a:pt x="503" y="191"/>
                  <a:pt x="503" y="191"/>
                  <a:pt x="503" y="191"/>
                </a:cubicBezTo>
                <a:cubicBezTo>
                  <a:pt x="503" y="189"/>
                  <a:pt x="502" y="188"/>
                  <a:pt x="501" y="187"/>
                </a:cubicBezTo>
                <a:cubicBezTo>
                  <a:pt x="501" y="187"/>
                  <a:pt x="501" y="187"/>
                  <a:pt x="501" y="187"/>
                </a:cubicBezTo>
                <a:cubicBezTo>
                  <a:pt x="500" y="187"/>
                  <a:pt x="500" y="187"/>
                  <a:pt x="500" y="186"/>
                </a:cubicBezTo>
                <a:cubicBezTo>
                  <a:pt x="500" y="186"/>
                  <a:pt x="500" y="186"/>
                  <a:pt x="499" y="186"/>
                </a:cubicBezTo>
                <a:cubicBezTo>
                  <a:pt x="499" y="186"/>
                  <a:pt x="499" y="186"/>
                  <a:pt x="499" y="186"/>
                </a:cubicBezTo>
                <a:cubicBezTo>
                  <a:pt x="499" y="186"/>
                  <a:pt x="499" y="186"/>
                  <a:pt x="499" y="186"/>
                </a:cubicBezTo>
                <a:cubicBezTo>
                  <a:pt x="377" y="124"/>
                  <a:pt x="377" y="124"/>
                  <a:pt x="377" y="124"/>
                </a:cubicBezTo>
                <a:cubicBezTo>
                  <a:pt x="377" y="124"/>
                  <a:pt x="377" y="124"/>
                  <a:pt x="377" y="124"/>
                </a:cubicBezTo>
                <a:cubicBezTo>
                  <a:pt x="376" y="124"/>
                  <a:pt x="376" y="124"/>
                  <a:pt x="376" y="124"/>
                </a:cubicBezTo>
                <a:cubicBezTo>
                  <a:pt x="375" y="123"/>
                  <a:pt x="375" y="123"/>
                  <a:pt x="375" y="123"/>
                </a:cubicBezTo>
                <a:cubicBezTo>
                  <a:pt x="375" y="123"/>
                  <a:pt x="374" y="123"/>
                  <a:pt x="374" y="123"/>
                </a:cubicBezTo>
                <a:cubicBezTo>
                  <a:pt x="374" y="123"/>
                  <a:pt x="374" y="123"/>
                  <a:pt x="373" y="123"/>
                </a:cubicBezTo>
                <a:cubicBezTo>
                  <a:pt x="373" y="123"/>
                  <a:pt x="373" y="123"/>
                  <a:pt x="373" y="123"/>
                </a:cubicBezTo>
                <a:cubicBezTo>
                  <a:pt x="372" y="123"/>
                  <a:pt x="372" y="123"/>
                  <a:pt x="372" y="123"/>
                </a:cubicBezTo>
                <a:cubicBezTo>
                  <a:pt x="372" y="123"/>
                  <a:pt x="371" y="123"/>
                  <a:pt x="371" y="124"/>
                </a:cubicBezTo>
                <a:cubicBezTo>
                  <a:pt x="371" y="124"/>
                  <a:pt x="371" y="124"/>
                  <a:pt x="370" y="124"/>
                </a:cubicBezTo>
                <a:cubicBezTo>
                  <a:pt x="370" y="124"/>
                  <a:pt x="370" y="124"/>
                  <a:pt x="370" y="124"/>
                </a:cubicBezTo>
                <a:cubicBezTo>
                  <a:pt x="321" y="149"/>
                  <a:pt x="321" y="149"/>
                  <a:pt x="321" y="149"/>
                </a:cubicBezTo>
                <a:cubicBezTo>
                  <a:pt x="321" y="106"/>
                  <a:pt x="321" y="106"/>
                  <a:pt x="321" y="106"/>
                </a:cubicBezTo>
                <a:cubicBezTo>
                  <a:pt x="377" y="77"/>
                  <a:pt x="377" y="77"/>
                  <a:pt x="377" y="77"/>
                </a:cubicBezTo>
                <a:cubicBezTo>
                  <a:pt x="380" y="76"/>
                  <a:pt x="381" y="73"/>
                  <a:pt x="381" y="70"/>
                </a:cubicBezTo>
                <a:cubicBezTo>
                  <a:pt x="381" y="67"/>
                  <a:pt x="380" y="65"/>
                  <a:pt x="377" y="63"/>
                </a:cubicBezTo>
                <a:cubicBezTo>
                  <a:pt x="255" y="2"/>
                  <a:pt x="255" y="2"/>
                  <a:pt x="255" y="2"/>
                </a:cubicBezTo>
                <a:cubicBezTo>
                  <a:pt x="253" y="0"/>
                  <a:pt x="250" y="0"/>
                  <a:pt x="248" y="2"/>
                </a:cubicBezTo>
                <a:cubicBezTo>
                  <a:pt x="187" y="32"/>
                  <a:pt x="187" y="32"/>
                  <a:pt x="187" y="32"/>
                </a:cubicBezTo>
                <a:cubicBezTo>
                  <a:pt x="187" y="32"/>
                  <a:pt x="187" y="32"/>
                  <a:pt x="187" y="33"/>
                </a:cubicBezTo>
                <a:cubicBezTo>
                  <a:pt x="65" y="94"/>
                  <a:pt x="65" y="94"/>
                  <a:pt x="65" y="94"/>
                </a:cubicBezTo>
                <a:cubicBezTo>
                  <a:pt x="65" y="94"/>
                  <a:pt x="65" y="94"/>
                  <a:pt x="65" y="94"/>
                </a:cubicBezTo>
                <a:cubicBezTo>
                  <a:pt x="5" y="125"/>
                  <a:pt x="5" y="125"/>
                  <a:pt x="5" y="125"/>
                </a:cubicBezTo>
                <a:cubicBezTo>
                  <a:pt x="2" y="126"/>
                  <a:pt x="0" y="129"/>
                  <a:pt x="0" y="132"/>
                </a:cubicBezTo>
                <a:cubicBezTo>
                  <a:pt x="0" y="135"/>
                  <a:pt x="2" y="138"/>
                  <a:pt x="4" y="139"/>
                </a:cubicBezTo>
                <a:cubicBezTo>
                  <a:pt x="61" y="168"/>
                  <a:pt x="61" y="168"/>
                  <a:pt x="61" y="168"/>
                </a:cubicBezTo>
                <a:cubicBezTo>
                  <a:pt x="61" y="254"/>
                  <a:pt x="61" y="254"/>
                  <a:pt x="61" y="254"/>
                </a:cubicBezTo>
                <a:cubicBezTo>
                  <a:pt x="61" y="257"/>
                  <a:pt x="63" y="260"/>
                  <a:pt x="65" y="261"/>
                </a:cubicBezTo>
                <a:cubicBezTo>
                  <a:pt x="187" y="323"/>
                  <a:pt x="187" y="323"/>
                  <a:pt x="187" y="323"/>
                </a:cubicBezTo>
                <a:cubicBezTo>
                  <a:pt x="187" y="323"/>
                  <a:pt x="188" y="323"/>
                  <a:pt x="188" y="323"/>
                </a:cubicBezTo>
                <a:cubicBezTo>
                  <a:pt x="188" y="323"/>
                  <a:pt x="189" y="323"/>
                  <a:pt x="189" y="323"/>
                </a:cubicBezTo>
                <a:cubicBezTo>
                  <a:pt x="189" y="323"/>
                  <a:pt x="190" y="323"/>
                  <a:pt x="191" y="323"/>
                </a:cubicBezTo>
                <a:cubicBezTo>
                  <a:pt x="191" y="323"/>
                  <a:pt x="191" y="323"/>
                  <a:pt x="191" y="323"/>
                </a:cubicBezTo>
                <a:cubicBezTo>
                  <a:pt x="192" y="323"/>
                  <a:pt x="192" y="323"/>
                  <a:pt x="193" y="323"/>
                </a:cubicBezTo>
                <a:cubicBezTo>
                  <a:pt x="193" y="323"/>
                  <a:pt x="193" y="323"/>
                  <a:pt x="193" y="323"/>
                </a:cubicBezTo>
                <a:cubicBezTo>
                  <a:pt x="194" y="323"/>
                  <a:pt x="194" y="323"/>
                  <a:pt x="194" y="323"/>
                </a:cubicBezTo>
                <a:cubicBezTo>
                  <a:pt x="244" y="298"/>
                  <a:pt x="244" y="298"/>
                  <a:pt x="244" y="298"/>
                </a:cubicBezTo>
                <a:cubicBezTo>
                  <a:pt x="244" y="345"/>
                  <a:pt x="244" y="345"/>
                  <a:pt x="244" y="345"/>
                </a:cubicBezTo>
                <a:cubicBezTo>
                  <a:pt x="244" y="349"/>
                  <a:pt x="245" y="351"/>
                  <a:pt x="248" y="353"/>
                </a:cubicBezTo>
                <a:cubicBezTo>
                  <a:pt x="370" y="414"/>
                  <a:pt x="370" y="414"/>
                  <a:pt x="370" y="414"/>
                </a:cubicBezTo>
                <a:cubicBezTo>
                  <a:pt x="370" y="414"/>
                  <a:pt x="371" y="415"/>
                  <a:pt x="371" y="415"/>
                </a:cubicBezTo>
                <a:cubicBezTo>
                  <a:pt x="371" y="415"/>
                  <a:pt x="371" y="415"/>
                  <a:pt x="371" y="415"/>
                </a:cubicBezTo>
                <a:cubicBezTo>
                  <a:pt x="372" y="415"/>
                  <a:pt x="373" y="415"/>
                  <a:pt x="373" y="415"/>
                </a:cubicBezTo>
                <a:cubicBezTo>
                  <a:pt x="373" y="415"/>
                  <a:pt x="373" y="415"/>
                  <a:pt x="373" y="415"/>
                </a:cubicBezTo>
                <a:cubicBezTo>
                  <a:pt x="374" y="415"/>
                  <a:pt x="375" y="415"/>
                  <a:pt x="375" y="415"/>
                </a:cubicBezTo>
                <a:cubicBezTo>
                  <a:pt x="376" y="415"/>
                  <a:pt x="376" y="415"/>
                  <a:pt x="376" y="415"/>
                </a:cubicBezTo>
                <a:cubicBezTo>
                  <a:pt x="376" y="415"/>
                  <a:pt x="377" y="414"/>
                  <a:pt x="377" y="414"/>
                </a:cubicBezTo>
                <a:cubicBezTo>
                  <a:pt x="499" y="353"/>
                  <a:pt x="499" y="353"/>
                  <a:pt x="499" y="353"/>
                </a:cubicBezTo>
                <a:cubicBezTo>
                  <a:pt x="502" y="351"/>
                  <a:pt x="503" y="349"/>
                  <a:pt x="503" y="346"/>
                </a:cubicBezTo>
                <a:cubicBezTo>
                  <a:pt x="503" y="259"/>
                  <a:pt x="503" y="259"/>
                  <a:pt x="503" y="259"/>
                </a:cubicBezTo>
                <a:cubicBezTo>
                  <a:pt x="503" y="254"/>
                  <a:pt x="500" y="251"/>
                  <a:pt x="495" y="251"/>
                </a:cubicBezTo>
                <a:close/>
                <a:moveTo>
                  <a:pt x="252" y="18"/>
                </a:moveTo>
                <a:cubicBezTo>
                  <a:pt x="356" y="70"/>
                  <a:pt x="356" y="70"/>
                  <a:pt x="356" y="70"/>
                </a:cubicBezTo>
                <a:cubicBezTo>
                  <a:pt x="312" y="92"/>
                  <a:pt x="312" y="92"/>
                  <a:pt x="312" y="92"/>
                </a:cubicBezTo>
                <a:cubicBezTo>
                  <a:pt x="256" y="63"/>
                  <a:pt x="256" y="63"/>
                  <a:pt x="256" y="63"/>
                </a:cubicBezTo>
                <a:cubicBezTo>
                  <a:pt x="208" y="39"/>
                  <a:pt x="208" y="39"/>
                  <a:pt x="208" y="39"/>
                </a:cubicBezTo>
                <a:lnTo>
                  <a:pt x="252" y="18"/>
                </a:lnTo>
                <a:close/>
                <a:moveTo>
                  <a:pt x="26" y="132"/>
                </a:moveTo>
                <a:cubicBezTo>
                  <a:pt x="69" y="110"/>
                  <a:pt x="69" y="110"/>
                  <a:pt x="69" y="110"/>
                </a:cubicBezTo>
                <a:cubicBezTo>
                  <a:pt x="173" y="163"/>
                  <a:pt x="173" y="163"/>
                  <a:pt x="173" y="163"/>
                </a:cubicBezTo>
                <a:cubicBezTo>
                  <a:pt x="130" y="185"/>
                  <a:pt x="130" y="185"/>
                  <a:pt x="130" y="185"/>
                </a:cubicBezTo>
                <a:lnTo>
                  <a:pt x="26" y="132"/>
                </a:lnTo>
                <a:close/>
                <a:moveTo>
                  <a:pt x="183" y="302"/>
                </a:moveTo>
                <a:cubicBezTo>
                  <a:pt x="77" y="249"/>
                  <a:pt x="77" y="249"/>
                  <a:pt x="77" y="249"/>
                </a:cubicBezTo>
                <a:cubicBezTo>
                  <a:pt x="77" y="176"/>
                  <a:pt x="77" y="176"/>
                  <a:pt x="77" y="176"/>
                </a:cubicBezTo>
                <a:cubicBezTo>
                  <a:pt x="126" y="201"/>
                  <a:pt x="126" y="201"/>
                  <a:pt x="126" y="201"/>
                </a:cubicBezTo>
                <a:cubicBezTo>
                  <a:pt x="127" y="201"/>
                  <a:pt x="128" y="202"/>
                  <a:pt x="130" y="202"/>
                </a:cubicBezTo>
                <a:cubicBezTo>
                  <a:pt x="131" y="202"/>
                  <a:pt x="132" y="201"/>
                  <a:pt x="133" y="201"/>
                </a:cubicBezTo>
                <a:cubicBezTo>
                  <a:pt x="183" y="176"/>
                  <a:pt x="183" y="176"/>
                  <a:pt x="183" y="176"/>
                </a:cubicBezTo>
                <a:lnTo>
                  <a:pt x="183" y="302"/>
                </a:lnTo>
                <a:close/>
                <a:moveTo>
                  <a:pt x="191" y="154"/>
                </a:moveTo>
                <a:cubicBezTo>
                  <a:pt x="134" y="125"/>
                  <a:pt x="134" y="125"/>
                  <a:pt x="134" y="125"/>
                </a:cubicBezTo>
                <a:cubicBezTo>
                  <a:pt x="87" y="101"/>
                  <a:pt x="87" y="101"/>
                  <a:pt x="87" y="101"/>
                </a:cubicBezTo>
                <a:cubicBezTo>
                  <a:pt x="191" y="48"/>
                  <a:pt x="191" y="48"/>
                  <a:pt x="191" y="48"/>
                </a:cubicBezTo>
                <a:cubicBezTo>
                  <a:pt x="246" y="76"/>
                  <a:pt x="246" y="76"/>
                  <a:pt x="246" y="76"/>
                </a:cubicBezTo>
                <a:cubicBezTo>
                  <a:pt x="295" y="101"/>
                  <a:pt x="295" y="101"/>
                  <a:pt x="295" y="101"/>
                </a:cubicBezTo>
                <a:lnTo>
                  <a:pt x="191" y="154"/>
                </a:lnTo>
                <a:close/>
                <a:moveTo>
                  <a:pt x="248" y="186"/>
                </a:moveTo>
                <a:cubicBezTo>
                  <a:pt x="248" y="186"/>
                  <a:pt x="248" y="186"/>
                  <a:pt x="247" y="186"/>
                </a:cubicBezTo>
                <a:cubicBezTo>
                  <a:pt x="247" y="186"/>
                  <a:pt x="247" y="186"/>
                  <a:pt x="247" y="186"/>
                </a:cubicBezTo>
                <a:cubicBezTo>
                  <a:pt x="247" y="187"/>
                  <a:pt x="246" y="187"/>
                  <a:pt x="246" y="187"/>
                </a:cubicBezTo>
                <a:cubicBezTo>
                  <a:pt x="246" y="187"/>
                  <a:pt x="246" y="187"/>
                  <a:pt x="246" y="187"/>
                </a:cubicBezTo>
                <a:cubicBezTo>
                  <a:pt x="245" y="188"/>
                  <a:pt x="244" y="189"/>
                  <a:pt x="244" y="191"/>
                </a:cubicBezTo>
                <a:cubicBezTo>
                  <a:pt x="244" y="191"/>
                  <a:pt x="244" y="191"/>
                  <a:pt x="244" y="191"/>
                </a:cubicBezTo>
                <a:cubicBezTo>
                  <a:pt x="244" y="192"/>
                  <a:pt x="244" y="192"/>
                  <a:pt x="244" y="193"/>
                </a:cubicBezTo>
                <a:cubicBezTo>
                  <a:pt x="244" y="193"/>
                  <a:pt x="244" y="193"/>
                  <a:pt x="244" y="193"/>
                </a:cubicBezTo>
                <a:cubicBezTo>
                  <a:pt x="244" y="281"/>
                  <a:pt x="244" y="281"/>
                  <a:pt x="244" y="281"/>
                </a:cubicBezTo>
                <a:cubicBezTo>
                  <a:pt x="199" y="303"/>
                  <a:pt x="199" y="303"/>
                  <a:pt x="199" y="303"/>
                </a:cubicBezTo>
                <a:cubicBezTo>
                  <a:pt x="199" y="168"/>
                  <a:pt x="199" y="168"/>
                  <a:pt x="199" y="168"/>
                </a:cubicBezTo>
                <a:cubicBezTo>
                  <a:pt x="305" y="114"/>
                  <a:pt x="305" y="114"/>
                  <a:pt x="305" y="114"/>
                </a:cubicBezTo>
                <a:cubicBezTo>
                  <a:pt x="305" y="157"/>
                  <a:pt x="305" y="157"/>
                  <a:pt x="305" y="157"/>
                </a:cubicBezTo>
                <a:cubicBezTo>
                  <a:pt x="248" y="186"/>
                  <a:pt x="248" y="186"/>
                  <a:pt x="248" y="186"/>
                </a:cubicBezTo>
                <a:cubicBezTo>
                  <a:pt x="248" y="186"/>
                  <a:pt x="248" y="186"/>
                  <a:pt x="248" y="186"/>
                </a:cubicBezTo>
                <a:close/>
                <a:moveTo>
                  <a:pt x="365" y="394"/>
                </a:moveTo>
                <a:cubicBezTo>
                  <a:pt x="260" y="341"/>
                  <a:pt x="260" y="341"/>
                  <a:pt x="260" y="341"/>
                </a:cubicBezTo>
                <a:cubicBezTo>
                  <a:pt x="260" y="206"/>
                  <a:pt x="260" y="206"/>
                  <a:pt x="260" y="206"/>
                </a:cubicBezTo>
                <a:cubicBezTo>
                  <a:pt x="365" y="259"/>
                  <a:pt x="365" y="259"/>
                  <a:pt x="365" y="259"/>
                </a:cubicBezTo>
                <a:lnTo>
                  <a:pt x="365" y="394"/>
                </a:lnTo>
                <a:close/>
                <a:moveTo>
                  <a:pt x="373" y="246"/>
                </a:moveTo>
                <a:cubicBezTo>
                  <a:pt x="269" y="193"/>
                  <a:pt x="269" y="193"/>
                  <a:pt x="269" y="193"/>
                </a:cubicBezTo>
                <a:cubicBezTo>
                  <a:pt x="373" y="140"/>
                  <a:pt x="373" y="140"/>
                  <a:pt x="373" y="140"/>
                </a:cubicBezTo>
                <a:cubicBezTo>
                  <a:pt x="478" y="193"/>
                  <a:pt x="478" y="193"/>
                  <a:pt x="478" y="193"/>
                </a:cubicBezTo>
                <a:lnTo>
                  <a:pt x="373" y="24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181818"/>
              </a:solidFill>
              <a:effectLst/>
              <a:uLnTx/>
              <a:uFillTx/>
              <a:latin typeface="Ericsson Hilda"/>
              <a:ea typeface="+mn-ea"/>
              <a:cs typeface="+mn-cs"/>
            </a:endParaRPr>
          </a:p>
        </p:txBody>
      </p:sp>
      <p:sp>
        <p:nvSpPr>
          <p:cNvPr id="25" name="Freeform 3" descr="bpct-blend4"/>
          <p:cNvSpPr>
            <a:spLocks noChangeAspect="1" noEditPoints="1"/>
          </p:cNvSpPr>
          <p:nvPr/>
        </p:nvSpPr>
        <p:spPr bwMode="auto">
          <a:xfrm>
            <a:off x="6567860" y="2133411"/>
            <a:ext cx="377821" cy="336537"/>
          </a:xfrm>
          <a:custGeom>
            <a:avLst/>
            <a:gdLst>
              <a:gd name="T0" fmla="*/ 2147483647 w 417"/>
              <a:gd name="T1" fmla="*/ 2147483647 h 428"/>
              <a:gd name="T2" fmla="*/ 2147483647 w 417"/>
              <a:gd name="T3" fmla="*/ 2147483647 h 428"/>
              <a:gd name="T4" fmla="*/ 2147483647 w 417"/>
              <a:gd name="T5" fmla="*/ 2147483647 h 428"/>
              <a:gd name="T6" fmla="*/ 2147483647 w 417"/>
              <a:gd name="T7" fmla="*/ 2147483647 h 428"/>
              <a:gd name="T8" fmla="*/ 2147483647 w 417"/>
              <a:gd name="T9" fmla="*/ 2147483647 h 428"/>
              <a:gd name="T10" fmla="*/ 2147483647 w 417"/>
              <a:gd name="T11" fmla="*/ 2147483647 h 428"/>
              <a:gd name="T12" fmla="*/ 2147483647 w 417"/>
              <a:gd name="T13" fmla="*/ 2147483647 h 428"/>
              <a:gd name="T14" fmla="*/ 2147483647 w 417"/>
              <a:gd name="T15" fmla="*/ 0 h 428"/>
              <a:gd name="T16" fmla="*/ 2147483647 w 417"/>
              <a:gd name="T17" fmla="*/ 2147483647 h 428"/>
              <a:gd name="T18" fmla="*/ 2147483647 w 417"/>
              <a:gd name="T19" fmla="*/ 2147483647 h 428"/>
              <a:gd name="T20" fmla="*/ 2147483647 w 417"/>
              <a:gd name="T21" fmla="*/ 2147483647 h 428"/>
              <a:gd name="T22" fmla="*/ 2147483647 w 417"/>
              <a:gd name="T23" fmla="*/ 2147483647 h 428"/>
              <a:gd name="T24" fmla="*/ 2147483647 w 417"/>
              <a:gd name="T25" fmla="*/ 2147483647 h 428"/>
              <a:gd name="T26" fmla="*/ 0 w 417"/>
              <a:gd name="T27" fmla="*/ 2147483647 h 428"/>
              <a:gd name="T28" fmla="*/ 2147483647 w 417"/>
              <a:gd name="T29" fmla="*/ 2147483647 h 428"/>
              <a:gd name="T30" fmla="*/ 2147483647 w 417"/>
              <a:gd name="T31" fmla="*/ 2147483647 h 428"/>
              <a:gd name="T32" fmla="*/ 2147483647 w 417"/>
              <a:gd name="T33" fmla="*/ 2147483647 h 428"/>
              <a:gd name="T34" fmla="*/ 2147483647 w 417"/>
              <a:gd name="T35" fmla="*/ 2147483647 h 428"/>
              <a:gd name="T36" fmla="*/ 2147483647 w 417"/>
              <a:gd name="T37" fmla="*/ 2147483647 h 428"/>
              <a:gd name="T38" fmla="*/ 2147483647 w 417"/>
              <a:gd name="T39" fmla="*/ 2147483647 h 428"/>
              <a:gd name="T40" fmla="*/ 2147483647 w 417"/>
              <a:gd name="T41" fmla="*/ 2147483647 h 428"/>
              <a:gd name="T42" fmla="*/ 2147483647 w 417"/>
              <a:gd name="T43" fmla="*/ 2147483647 h 428"/>
              <a:gd name="T44" fmla="*/ 2147483647 w 417"/>
              <a:gd name="T45" fmla="*/ 2147483647 h 428"/>
              <a:gd name="T46" fmla="*/ 2147483647 w 417"/>
              <a:gd name="T47" fmla="*/ 2147483647 h 428"/>
              <a:gd name="T48" fmla="*/ 2147483647 w 417"/>
              <a:gd name="T49" fmla="*/ 2147483647 h 428"/>
              <a:gd name="T50" fmla="*/ 2147483647 w 417"/>
              <a:gd name="T51" fmla="*/ 2147483647 h 428"/>
              <a:gd name="T52" fmla="*/ 2147483647 w 417"/>
              <a:gd name="T53" fmla="*/ 2147483647 h 428"/>
              <a:gd name="T54" fmla="*/ 2147483647 w 417"/>
              <a:gd name="T55" fmla="*/ 2147483647 h 428"/>
              <a:gd name="T56" fmla="*/ 2147483647 w 417"/>
              <a:gd name="T57" fmla="*/ 2147483647 h 428"/>
              <a:gd name="T58" fmla="*/ 2147483647 w 417"/>
              <a:gd name="T59" fmla="*/ 2147483647 h 428"/>
              <a:gd name="T60" fmla="*/ 2147483647 w 417"/>
              <a:gd name="T61" fmla="*/ 2147483647 h 428"/>
              <a:gd name="T62" fmla="*/ 2147483647 w 417"/>
              <a:gd name="T63" fmla="*/ 2147483647 h 428"/>
              <a:gd name="T64" fmla="*/ 2147483647 w 417"/>
              <a:gd name="T65" fmla="*/ 2147483647 h 428"/>
              <a:gd name="T66" fmla="*/ 2147483647 w 417"/>
              <a:gd name="T67" fmla="*/ 2147483647 h 428"/>
              <a:gd name="T68" fmla="*/ 2147483647 w 417"/>
              <a:gd name="T69" fmla="*/ 2147483647 h 428"/>
              <a:gd name="T70" fmla="*/ 2147483647 w 417"/>
              <a:gd name="T71" fmla="*/ 2147483647 h 428"/>
              <a:gd name="T72" fmla="*/ 2147483647 w 417"/>
              <a:gd name="T73" fmla="*/ 2147483647 h 428"/>
              <a:gd name="T74" fmla="*/ 2147483647 w 417"/>
              <a:gd name="T75" fmla="*/ 2147483647 h 428"/>
              <a:gd name="T76" fmla="*/ 2147483647 w 417"/>
              <a:gd name="T77" fmla="*/ 2147483647 h 428"/>
              <a:gd name="T78" fmla="*/ 2147483647 w 417"/>
              <a:gd name="T79" fmla="*/ 2147483647 h 428"/>
              <a:gd name="T80" fmla="*/ 2147483647 w 417"/>
              <a:gd name="T81" fmla="*/ 2147483647 h 428"/>
              <a:gd name="T82" fmla="*/ 2147483647 w 417"/>
              <a:gd name="T83" fmla="*/ 2147483647 h 428"/>
              <a:gd name="T84" fmla="*/ 2147483647 w 417"/>
              <a:gd name="T85" fmla="*/ 2147483647 h 428"/>
              <a:gd name="T86" fmla="*/ 2147483647 w 417"/>
              <a:gd name="T87" fmla="*/ 2147483647 h 428"/>
              <a:gd name="T88" fmla="*/ 2147483647 w 417"/>
              <a:gd name="T89" fmla="*/ 2147483647 h 428"/>
              <a:gd name="T90" fmla="*/ 2147483647 w 417"/>
              <a:gd name="T91" fmla="*/ 2147483647 h 428"/>
              <a:gd name="T92" fmla="*/ 2147483647 w 417"/>
              <a:gd name="T93" fmla="*/ 2147483647 h 428"/>
              <a:gd name="T94" fmla="*/ 2147483647 w 417"/>
              <a:gd name="T95" fmla="*/ 2147483647 h 428"/>
              <a:gd name="T96" fmla="*/ 2147483647 w 417"/>
              <a:gd name="T97" fmla="*/ 2147483647 h 428"/>
              <a:gd name="T98" fmla="*/ 2147483647 w 417"/>
              <a:gd name="T99" fmla="*/ 2147483647 h 428"/>
              <a:gd name="T100" fmla="*/ 2147483647 w 417"/>
              <a:gd name="T101" fmla="*/ 2147483647 h 428"/>
              <a:gd name="T102" fmla="*/ 2147483647 w 417"/>
              <a:gd name="T103" fmla="*/ 2147483647 h 428"/>
              <a:gd name="T104" fmla="*/ 2147483647 w 417"/>
              <a:gd name="T105" fmla="*/ 2147483647 h 428"/>
              <a:gd name="T106" fmla="*/ 2147483647 w 417"/>
              <a:gd name="T107" fmla="*/ 2147483647 h 428"/>
              <a:gd name="T108" fmla="*/ 2147483647 w 417"/>
              <a:gd name="T109" fmla="*/ 2147483647 h 428"/>
              <a:gd name="T110" fmla="*/ 2147483647 w 417"/>
              <a:gd name="T111" fmla="*/ 2147483647 h 428"/>
              <a:gd name="T112" fmla="*/ 2147483647 w 417"/>
              <a:gd name="T113" fmla="*/ 2147483647 h 428"/>
              <a:gd name="T114" fmla="*/ 2147483647 w 417"/>
              <a:gd name="T115" fmla="*/ 2147483647 h 428"/>
              <a:gd name="T116" fmla="*/ 2147483647 w 417"/>
              <a:gd name="T117" fmla="*/ 2147483647 h 428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417"/>
              <a:gd name="T178" fmla="*/ 0 h 428"/>
              <a:gd name="T179" fmla="*/ 417 w 417"/>
              <a:gd name="T180" fmla="*/ 428 h 428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417" h="428">
                <a:moveTo>
                  <a:pt x="413" y="87"/>
                </a:moveTo>
                <a:cubicBezTo>
                  <a:pt x="415" y="80"/>
                  <a:pt x="417" y="73"/>
                  <a:pt x="417" y="66"/>
                </a:cubicBezTo>
                <a:cubicBezTo>
                  <a:pt x="417" y="54"/>
                  <a:pt x="413" y="42"/>
                  <a:pt x="407" y="32"/>
                </a:cubicBezTo>
                <a:cubicBezTo>
                  <a:pt x="405" y="28"/>
                  <a:pt x="400" y="27"/>
                  <a:pt x="396" y="29"/>
                </a:cubicBezTo>
                <a:cubicBezTo>
                  <a:pt x="392" y="31"/>
                  <a:pt x="391" y="36"/>
                  <a:pt x="393" y="40"/>
                </a:cubicBezTo>
                <a:cubicBezTo>
                  <a:pt x="393" y="40"/>
                  <a:pt x="393" y="40"/>
                  <a:pt x="393" y="40"/>
                </a:cubicBezTo>
                <a:cubicBezTo>
                  <a:pt x="401" y="52"/>
                  <a:pt x="403" y="67"/>
                  <a:pt x="398" y="82"/>
                </a:cubicBezTo>
                <a:cubicBezTo>
                  <a:pt x="389" y="108"/>
                  <a:pt x="361" y="122"/>
                  <a:pt x="335" y="114"/>
                </a:cubicBezTo>
                <a:cubicBezTo>
                  <a:pt x="309" y="105"/>
                  <a:pt x="294" y="77"/>
                  <a:pt x="303" y="50"/>
                </a:cubicBezTo>
                <a:cubicBezTo>
                  <a:pt x="312" y="24"/>
                  <a:pt x="340" y="10"/>
                  <a:pt x="366" y="19"/>
                </a:cubicBezTo>
                <a:cubicBezTo>
                  <a:pt x="369" y="19"/>
                  <a:pt x="371" y="21"/>
                  <a:pt x="374" y="22"/>
                </a:cubicBezTo>
                <a:cubicBezTo>
                  <a:pt x="374" y="22"/>
                  <a:pt x="374" y="22"/>
                  <a:pt x="374" y="22"/>
                </a:cubicBezTo>
                <a:cubicBezTo>
                  <a:pt x="378" y="24"/>
                  <a:pt x="383" y="22"/>
                  <a:pt x="385" y="18"/>
                </a:cubicBezTo>
                <a:cubicBezTo>
                  <a:pt x="387" y="15"/>
                  <a:pt x="385" y="10"/>
                  <a:pt x="381" y="8"/>
                </a:cubicBezTo>
                <a:cubicBezTo>
                  <a:pt x="378" y="6"/>
                  <a:pt x="375" y="5"/>
                  <a:pt x="371" y="3"/>
                </a:cubicBezTo>
                <a:cubicBezTo>
                  <a:pt x="364" y="1"/>
                  <a:pt x="357" y="0"/>
                  <a:pt x="351" y="0"/>
                </a:cubicBezTo>
                <a:cubicBezTo>
                  <a:pt x="323" y="0"/>
                  <a:pt x="297" y="18"/>
                  <a:pt x="288" y="45"/>
                </a:cubicBezTo>
                <a:cubicBezTo>
                  <a:pt x="287" y="49"/>
                  <a:pt x="286" y="52"/>
                  <a:pt x="286" y="55"/>
                </a:cubicBezTo>
                <a:cubicBezTo>
                  <a:pt x="189" y="81"/>
                  <a:pt x="189" y="81"/>
                  <a:pt x="189" y="81"/>
                </a:cubicBezTo>
                <a:cubicBezTo>
                  <a:pt x="180" y="74"/>
                  <a:pt x="170" y="70"/>
                  <a:pt x="159" y="70"/>
                </a:cubicBezTo>
                <a:cubicBezTo>
                  <a:pt x="154" y="70"/>
                  <a:pt x="150" y="71"/>
                  <a:pt x="146" y="72"/>
                </a:cubicBezTo>
                <a:cubicBezTo>
                  <a:pt x="143" y="73"/>
                  <a:pt x="141" y="74"/>
                  <a:pt x="139" y="75"/>
                </a:cubicBezTo>
                <a:cubicBezTo>
                  <a:pt x="115" y="59"/>
                  <a:pt x="115" y="59"/>
                  <a:pt x="115" y="59"/>
                </a:cubicBezTo>
                <a:cubicBezTo>
                  <a:pt x="113" y="58"/>
                  <a:pt x="112" y="58"/>
                  <a:pt x="110" y="58"/>
                </a:cubicBezTo>
                <a:cubicBezTo>
                  <a:pt x="47" y="58"/>
                  <a:pt x="47" y="58"/>
                  <a:pt x="47" y="58"/>
                </a:cubicBezTo>
                <a:cubicBezTo>
                  <a:pt x="45" y="58"/>
                  <a:pt x="43" y="59"/>
                  <a:pt x="41" y="60"/>
                </a:cubicBezTo>
                <a:cubicBezTo>
                  <a:pt x="2" y="99"/>
                  <a:pt x="2" y="99"/>
                  <a:pt x="2" y="99"/>
                </a:cubicBezTo>
                <a:cubicBezTo>
                  <a:pt x="1" y="100"/>
                  <a:pt x="0" y="102"/>
                  <a:pt x="0" y="105"/>
                </a:cubicBezTo>
                <a:cubicBezTo>
                  <a:pt x="0" y="107"/>
                  <a:pt x="1" y="109"/>
                  <a:pt x="3" y="110"/>
                </a:cubicBezTo>
                <a:cubicBezTo>
                  <a:pt x="22" y="127"/>
                  <a:pt x="22" y="127"/>
                  <a:pt x="22" y="127"/>
                </a:cubicBezTo>
                <a:cubicBezTo>
                  <a:pt x="25" y="130"/>
                  <a:pt x="30" y="130"/>
                  <a:pt x="33" y="127"/>
                </a:cubicBezTo>
                <a:cubicBezTo>
                  <a:pt x="53" y="107"/>
                  <a:pt x="53" y="107"/>
                  <a:pt x="53" y="107"/>
                </a:cubicBezTo>
                <a:cubicBezTo>
                  <a:pt x="84" y="108"/>
                  <a:pt x="84" y="108"/>
                  <a:pt x="84" y="108"/>
                </a:cubicBezTo>
                <a:cubicBezTo>
                  <a:pt x="111" y="131"/>
                  <a:pt x="111" y="131"/>
                  <a:pt x="111" y="131"/>
                </a:cubicBezTo>
                <a:cubicBezTo>
                  <a:pt x="100" y="165"/>
                  <a:pt x="100" y="165"/>
                  <a:pt x="100" y="165"/>
                </a:cubicBezTo>
                <a:cubicBezTo>
                  <a:pt x="73" y="182"/>
                  <a:pt x="73" y="182"/>
                  <a:pt x="73" y="182"/>
                </a:cubicBezTo>
                <a:cubicBezTo>
                  <a:pt x="46" y="175"/>
                  <a:pt x="46" y="175"/>
                  <a:pt x="46" y="175"/>
                </a:cubicBezTo>
                <a:cubicBezTo>
                  <a:pt x="42" y="174"/>
                  <a:pt x="38" y="176"/>
                  <a:pt x="37" y="180"/>
                </a:cubicBezTo>
                <a:cubicBezTo>
                  <a:pt x="28" y="204"/>
                  <a:pt x="28" y="204"/>
                  <a:pt x="28" y="204"/>
                </a:cubicBezTo>
                <a:cubicBezTo>
                  <a:pt x="28" y="206"/>
                  <a:pt x="28" y="209"/>
                  <a:pt x="29" y="211"/>
                </a:cubicBezTo>
                <a:cubicBezTo>
                  <a:pt x="30" y="213"/>
                  <a:pt x="32" y="214"/>
                  <a:pt x="34" y="215"/>
                </a:cubicBezTo>
                <a:cubicBezTo>
                  <a:pt x="87" y="228"/>
                  <a:pt x="87" y="228"/>
                  <a:pt x="87" y="228"/>
                </a:cubicBezTo>
                <a:cubicBezTo>
                  <a:pt x="87" y="228"/>
                  <a:pt x="88" y="228"/>
                  <a:pt x="89" y="228"/>
                </a:cubicBezTo>
                <a:cubicBezTo>
                  <a:pt x="90" y="228"/>
                  <a:pt x="92" y="228"/>
                  <a:pt x="93" y="227"/>
                </a:cubicBezTo>
                <a:cubicBezTo>
                  <a:pt x="148" y="195"/>
                  <a:pt x="148" y="195"/>
                  <a:pt x="148" y="195"/>
                </a:cubicBezTo>
                <a:cubicBezTo>
                  <a:pt x="149" y="194"/>
                  <a:pt x="150" y="193"/>
                  <a:pt x="151" y="192"/>
                </a:cubicBezTo>
                <a:cubicBezTo>
                  <a:pt x="164" y="166"/>
                  <a:pt x="164" y="166"/>
                  <a:pt x="164" y="166"/>
                </a:cubicBezTo>
                <a:cubicBezTo>
                  <a:pt x="166" y="166"/>
                  <a:pt x="169" y="165"/>
                  <a:pt x="171" y="165"/>
                </a:cubicBezTo>
                <a:cubicBezTo>
                  <a:pt x="187" y="161"/>
                  <a:pt x="198" y="149"/>
                  <a:pt x="203" y="135"/>
                </a:cubicBezTo>
                <a:cubicBezTo>
                  <a:pt x="295" y="110"/>
                  <a:pt x="295" y="110"/>
                  <a:pt x="295" y="110"/>
                </a:cubicBezTo>
                <a:cubicBezTo>
                  <a:pt x="257" y="224"/>
                  <a:pt x="257" y="224"/>
                  <a:pt x="257" y="224"/>
                </a:cubicBezTo>
                <a:cubicBezTo>
                  <a:pt x="231" y="232"/>
                  <a:pt x="212" y="257"/>
                  <a:pt x="212" y="286"/>
                </a:cubicBezTo>
                <a:cubicBezTo>
                  <a:pt x="212" y="294"/>
                  <a:pt x="213" y="302"/>
                  <a:pt x="216" y="309"/>
                </a:cubicBezTo>
                <a:cubicBezTo>
                  <a:pt x="151" y="415"/>
                  <a:pt x="151" y="415"/>
                  <a:pt x="151" y="415"/>
                </a:cubicBezTo>
                <a:cubicBezTo>
                  <a:pt x="150" y="418"/>
                  <a:pt x="150" y="421"/>
                  <a:pt x="151" y="423"/>
                </a:cubicBezTo>
                <a:cubicBezTo>
                  <a:pt x="153" y="426"/>
                  <a:pt x="155" y="428"/>
                  <a:pt x="158" y="428"/>
                </a:cubicBezTo>
                <a:cubicBezTo>
                  <a:pt x="402" y="428"/>
                  <a:pt x="402" y="428"/>
                  <a:pt x="402" y="428"/>
                </a:cubicBezTo>
                <a:cubicBezTo>
                  <a:pt x="405" y="428"/>
                  <a:pt x="408" y="426"/>
                  <a:pt x="409" y="423"/>
                </a:cubicBezTo>
                <a:cubicBezTo>
                  <a:pt x="411" y="421"/>
                  <a:pt x="411" y="418"/>
                  <a:pt x="409" y="415"/>
                </a:cubicBezTo>
                <a:cubicBezTo>
                  <a:pt x="341" y="304"/>
                  <a:pt x="341" y="304"/>
                  <a:pt x="341" y="304"/>
                </a:cubicBezTo>
                <a:cubicBezTo>
                  <a:pt x="343" y="298"/>
                  <a:pt x="344" y="292"/>
                  <a:pt x="344" y="286"/>
                </a:cubicBezTo>
                <a:cubicBezTo>
                  <a:pt x="344" y="272"/>
                  <a:pt x="339" y="259"/>
                  <a:pt x="331" y="248"/>
                </a:cubicBezTo>
                <a:cubicBezTo>
                  <a:pt x="371" y="129"/>
                  <a:pt x="371" y="129"/>
                  <a:pt x="371" y="129"/>
                </a:cubicBezTo>
                <a:cubicBezTo>
                  <a:pt x="390" y="123"/>
                  <a:pt x="406" y="108"/>
                  <a:pt x="413" y="87"/>
                </a:cubicBezTo>
                <a:close/>
                <a:moveTo>
                  <a:pt x="93" y="95"/>
                </a:moveTo>
                <a:cubicBezTo>
                  <a:pt x="91" y="93"/>
                  <a:pt x="90" y="93"/>
                  <a:pt x="88" y="93"/>
                </a:cubicBezTo>
                <a:cubicBezTo>
                  <a:pt x="50" y="91"/>
                  <a:pt x="50" y="91"/>
                  <a:pt x="50" y="91"/>
                </a:cubicBezTo>
                <a:cubicBezTo>
                  <a:pt x="50" y="91"/>
                  <a:pt x="49" y="91"/>
                  <a:pt x="49" y="91"/>
                </a:cubicBezTo>
                <a:cubicBezTo>
                  <a:pt x="47" y="91"/>
                  <a:pt x="45" y="92"/>
                  <a:pt x="44" y="93"/>
                </a:cubicBezTo>
                <a:cubicBezTo>
                  <a:pt x="27" y="110"/>
                  <a:pt x="27" y="110"/>
                  <a:pt x="27" y="110"/>
                </a:cubicBezTo>
                <a:cubicBezTo>
                  <a:pt x="20" y="104"/>
                  <a:pt x="20" y="104"/>
                  <a:pt x="20" y="104"/>
                </a:cubicBezTo>
                <a:cubicBezTo>
                  <a:pt x="50" y="74"/>
                  <a:pt x="50" y="74"/>
                  <a:pt x="50" y="74"/>
                </a:cubicBezTo>
                <a:cubicBezTo>
                  <a:pt x="108" y="74"/>
                  <a:pt x="108" y="74"/>
                  <a:pt x="108" y="74"/>
                </a:cubicBezTo>
                <a:cubicBezTo>
                  <a:pt x="125" y="84"/>
                  <a:pt x="125" y="84"/>
                  <a:pt x="125" y="84"/>
                </a:cubicBezTo>
                <a:cubicBezTo>
                  <a:pt x="118" y="92"/>
                  <a:pt x="113" y="101"/>
                  <a:pt x="111" y="111"/>
                </a:cubicBezTo>
                <a:lnTo>
                  <a:pt x="93" y="95"/>
                </a:lnTo>
                <a:close/>
                <a:moveTo>
                  <a:pt x="138" y="183"/>
                </a:moveTo>
                <a:cubicBezTo>
                  <a:pt x="88" y="212"/>
                  <a:pt x="88" y="212"/>
                  <a:pt x="88" y="212"/>
                </a:cubicBezTo>
                <a:cubicBezTo>
                  <a:pt x="46" y="201"/>
                  <a:pt x="46" y="201"/>
                  <a:pt x="46" y="201"/>
                </a:cubicBezTo>
                <a:cubicBezTo>
                  <a:pt x="49" y="192"/>
                  <a:pt x="49" y="192"/>
                  <a:pt x="49" y="192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4" y="199"/>
                  <a:pt x="77" y="199"/>
                  <a:pt x="79" y="197"/>
                </a:cubicBezTo>
                <a:cubicBezTo>
                  <a:pt x="111" y="177"/>
                  <a:pt x="111" y="177"/>
                  <a:pt x="111" y="177"/>
                </a:cubicBezTo>
                <a:cubicBezTo>
                  <a:pt x="112" y="176"/>
                  <a:pt x="113" y="174"/>
                  <a:pt x="114" y="173"/>
                </a:cubicBezTo>
                <a:cubicBezTo>
                  <a:pt x="122" y="149"/>
                  <a:pt x="122" y="149"/>
                  <a:pt x="122" y="149"/>
                </a:cubicBezTo>
                <a:cubicBezTo>
                  <a:pt x="128" y="157"/>
                  <a:pt x="137" y="162"/>
                  <a:pt x="147" y="165"/>
                </a:cubicBezTo>
                <a:lnTo>
                  <a:pt x="138" y="183"/>
                </a:lnTo>
                <a:close/>
                <a:moveTo>
                  <a:pt x="167" y="149"/>
                </a:moveTo>
                <a:cubicBezTo>
                  <a:pt x="150" y="154"/>
                  <a:pt x="132" y="144"/>
                  <a:pt x="128" y="127"/>
                </a:cubicBezTo>
                <a:cubicBezTo>
                  <a:pt x="123" y="110"/>
                  <a:pt x="133" y="92"/>
                  <a:pt x="150" y="88"/>
                </a:cubicBezTo>
                <a:cubicBezTo>
                  <a:pt x="167" y="83"/>
                  <a:pt x="185" y="93"/>
                  <a:pt x="189" y="110"/>
                </a:cubicBezTo>
                <a:cubicBezTo>
                  <a:pt x="194" y="127"/>
                  <a:pt x="184" y="145"/>
                  <a:pt x="167" y="149"/>
                </a:cubicBezTo>
                <a:close/>
                <a:moveTo>
                  <a:pt x="206" y="118"/>
                </a:moveTo>
                <a:cubicBezTo>
                  <a:pt x="206" y="114"/>
                  <a:pt x="206" y="110"/>
                  <a:pt x="205" y="106"/>
                </a:cubicBezTo>
                <a:cubicBezTo>
                  <a:pt x="205" y="106"/>
                  <a:pt x="205" y="106"/>
                  <a:pt x="205" y="106"/>
                </a:cubicBezTo>
                <a:cubicBezTo>
                  <a:pt x="204" y="102"/>
                  <a:pt x="202" y="98"/>
                  <a:pt x="200" y="95"/>
                </a:cubicBezTo>
                <a:cubicBezTo>
                  <a:pt x="285" y="72"/>
                  <a:pt x="285" y="72"/>
                  <a:pt x="285" y="72"/>
                </a:cubicBezTo>
                <a:cubicBezTo>
                  <a:pt x="285" y="80"/>
                  <a:pt x="288" y="88"/>
                  <a:pt x="291" y="95"/>
                </a:cubicBezTo>
                <a:lnTo>
                  <a:pt x="206" y="118"/>
                </a:lnTo>
                <a:close/>
                <a:moveTo>
                  <a:pt x="278" y="236"/>
                </a:moveTo>
                <a:cubicBezTo>
                  <a:pt x="305" y="236"/>
                  <a:pt x="328" y="259"/>
                  <a:pt x="328" y="286"/>
                </a:cubicBezTo>
                <a:cubicBezTo>
                  <a:pt x="328" y="314"/>
                  <a:pt x="305" y="337"/>
                  <a:pt x="278" y="337"/>
                </a:cubicBezTo>
                <a:cubicBezTo>
                  <a:pt x="250" y="337"/>
                  <a:pt x="227" y="314"/>
                  <a:pt x="227" y="286"/>
                </a:cubicBezTo>
                <a:cubicBezTo>
                  <a:pt x="227" y="259"/>
                  <a:pt x="250" y="236"/>
                  <a:pt x="278" y="236"/>
                </a:cubicBezTo>
                <a:close/>
                <a:moveTo>
                  <a:pt x="333" y="322"/>
                </a:moveTo>
                <a:cubicBezTo>
                  <a:pt x="388" y="412"/>
                  <a:pt x="388" y="412"/>
                  <a:pt x="388" y="412"/>
                </a:cubicBezTo>
                <a:cubicBezTo>
                  <a:pt x="172" y="412"/>
                  <a:pt x="172" y="412"/>
                  <a:pt x="172" y="412"/>
                </a:cubicBezTo>
                <a:cubicBezTo>
                  <a:pt x="225" y="326"/>
                  <a:pt x="225" y="326"/>
                  <a:pt x="225" y="326"/>
                </a:cubicBezTo>
                <a:cubicBezTo>
                  <a:pt x="237" y="342"/>
                  <a:pt x="256" y="352"/>
                  <a:pt x="278" y="352"/>
                </a:cubicBezTo>
                <a:cubicBezTo>
                  <a:pt x="301" y="352"/>
                  <a:pt x="322" y="340"/>
                  <a:pt x="333" y="322"/>
                </a:cubicBezTo>
                <a:close/>
                <a:moveTo>
                  <a:pt x="319" y="235"/>
                </a:moveTo>
                <a:cubicBezTo>
                  <a:pt x="308" y="226"/>
                  <a:pt x="293" y="220"/>
                  <a:pt x="278" y="220"/>
                </a:cubicBezTo>
                <a:cubicBezTo>
                  <a:pt x="277" y="220"/>
                  <a:pt x="276" y="220"/>
                  <a:pt x="275" y="220"/>
                </a:cubicBezTo>
                <a:cubicBezTo>
                  <a:pt x="309" y="118"/>
                  <a:pt x="309" y="118"/>
                  <a:pt x="309" y="118"/>
                </a:cubicBezTo>
                <a:cubicBezTo>
                  <a:pt x="315" y="122"/>
                  <a:pt x="322" y="126"/>
                  <a:pt x="330" y="129"/>
                </a:cubicBezTo>
                <a:cubicBezTo>
                  <a:pt x="337" y="131"/>
                  <a:pt x="344" y="132"/>
                  <a:pt x="351" y="132"/>
                </a:cubicBezTo>
                <a:cubicBezTo>
                  <a:pt x="351" y="132"/>
                  <a:pt x="351" y="132"/>
                  <a:pt x="351" y="132"/>
                </a:cubicBezTo>
                <a:cubicBezTo>
                  <a:pt x="351" y="132"/>
                  <a:pt x="352" y="132"/>
                  <a:pt x="353" y="132"/>
                </a:cubicBezTo>
                <a:lnTo>
                  <a:pt x="319" y="23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181818"/>
              </a:solidFill>
              <a:effectLst/>
              <a:uLnTx/>
              <a:uFillTx/>
              <a:latin typeface="Ericsson Hilda"/>
              <a:ea typeface="+mn-ea"/>
              <a:cs typeface="+mn-cs"/>
            </a:endParaRPr>
          </a:p>
        </p:txBody>
      </p:sp>
      <p:sp>
        <p:nvSpPr>
          <p:cNvPr id="26" name="Freeform 16" descr="bpct-blend2"/>
          <p:cNvSpPr>
            <a:spLocks noChangeAspect="1" noEditPoints="1"/>
          </p:cNvSpPr>
          <p:nvPr/>
        </p:nvSpPr>
        <p:spPr bwMode="auto">
          <a:xfrm>
            <a:off x="7669333" y="2113794"/>
            <a:ext cx="406683" cy="396366"/>
          </a:xfrm>
          <a:custGeom>
            <a:avLst/>
            <a:gdLst>
              <a:gd name="T0" fmla="*/ 2147483647 w 362"/>
              <a:gd name="T1" fmla="*/ 2147483647 h 409"/>
              <a:gd name="T2" fmla="*/ 2147483647 w 362"/>
              <a:gd name="T3" fmla="*/ 2147483647 h 409"/>
              <a:gd name="T4" fmla="*/ 2147483647 w 362"/>
              <a:gd name="T5" fmla="*/ 2147483647 h 409"/>
              <a:gd name="T6" fmla="*/ 2147483647 w 362"/>
              <a:gd name="T7" fmla="*/ 2147483647 h 409"/>
              <a:gd name="T8" fmla="*/ 2147483647 w 362"/>
              <a:gd name="T9" fmla="*/ 2147483647 h 409"/>
              <a:gd name="T10" fmla="*/ 2147483647 w 362"/>
              <a:gd name="T11" fmla="*/ 2147483647 h 409"/>
              <a:gd name="T12" fmla="*/ 2147483647 w 362"/>
              <a:gd name="T13" fmla="*/ 2147483647 h 409"/>
              <a:gd name="T14" fmla="*/ 2147483647 w 362"/>
              <a:gd name="T15" fmla="*/ 2147483647 h 409"/>
              <a:gd name="T16" fmla="*/ 2147483647 w 362"/>
              <a:gd name="T17" fmla="*/ 2147483647 h 409"/>
              <a:gd name="T18" fmla="*/ 2147483647 w 362"/>
              <a:gd name="T19" fmla="*/ 2147483647 h 409"/>
              <a:gd name="T20" fmla="*/ 2147483647 w 362"/>
              <a:gd name="T21" fmla="*/ 2147483647 h 409"/>
              <a:gd name="T22" fmla="*/ 2147483647 w 362"/>
              <a:gd name="T23" fmla="*/ 2147483647 h 409"/>
              <a:gd name="T24" fmla="*/ 2147483647 w 362"/>
              <a:gd name="T25" fmla="*/ 2147483647 h 409"/>
              <a:gd name="T26" fmla="*/ 2147483647 w 362"/>
              <a:gd name="T27" fmla="*/ 2147483647 h 409"/>
              <a:gd name="T28" fmla="*/ 2147483647 w 362"/>
              <a:gd name="T29" fmla="*/ 2147483647 h 409"/>
              <a:gd name="T30" fmla="*/ 2147483647 w 362"/>
              <a:gd name="T31" fmla="*/ 2147483647 h 409"/>
              <a:gd name="T32" fmla="*/ 2147483647 w 362"/>
              <a:gd name="T33" fmla="*/ 2147483647 h 409"/>
              <a:gd name="T34" fmla="*/ 2147483647 w 362"/>
              <a:gd name="T35" fmla="*/ 2147483647 h 409"/>
              <a:gd name="T36" fmla="*/ 0 w 362"/>
              <a:gd name="T37" fmla="*/ 2147483647 h 409"/>
              <a:gd name="T38" fmla="*/ 2147483647 w 362"/>
              <a:gd name="T39" fmla="*/ 2147483647 h 409"/>
              <a:gd name="T40" fmla="*/ 2147483647 w 362"/>
              <a:gd name="T41" fmla="*/ 2147483647 h 409"/>
              <a:gd name="T42" fmla="*/ 2147483647 w 362"/>
              <a:gd name="T43" fmla="*/ 2147483647 h 409"/>
              <a:gd name="T44" fmla="*/ 0 w 362"/>
              <a:gd name="T45" fmla="*/ 2147483647 h 409"/>
              <a:gd name="T46" fmla="*/ 2147483647 w 362"/>
              <a:gd name="T47" fmla="*/ 2147483647 h 409"/>
              <a:gd name="T48" fmla="*/ 2147483647 w 362"/>
              <a:gd name="T49" fmla="*/ 2147483647 h 409"/>
              <a:gd name="T50" fmla="*/ 2147483647 w 362"/>
              <a:gd name="T51" fmla="*/ 2147483647 h 409"/>
              <a:gd name="T52" fmla="*/ 2147483647 w 362"/>
              <a:gd name="T53" fmla="*/ 2147483647 h 409"/>
              <a:gd name="T54" fmla="*/ 2147483647 w 362"/>
              <a:gd name="T55" fmla="*/ 2147483647 h 409"/>
              <a:gd name="T56" fmla="*/ 2147483647 w 362"/>
              <a:gd name="T57" fmla="*/ 2147483647 h 409"/>
              <a:gd name="T58" fmla="*/ 2147483647 w 362"/>
              <a:gd name="T59" fmla="*/ 2147483647 h 409"/>
              <a:gd name="T60" fmla="*/ 2147483647 w 362"/>
              <a:gd name="T61" fmla="*/ 2147483647 h 409"/>
              <a:gd name="T62" fmla="*/ 2147483647 w 362"/>
              <a:gd name="T63" fmla="*/ 2147483647 h 409"/>
              <a:gd name="T64" fmla="*/ 2147483647 w 362"/>
              <a:gd name="T65" fmla="*/ 2147483647 h 409"/>
              <a:gd name="T66" fmla="*/ 2147483647 w 362"/>
              <a:gd name="T67" fmla="*/ 2147483647 h 409"/>
              <a:gd name="T68" fmla="*/ 2147483647 w 362"/>
              <a:gd name="T69" fmla="*/ 2147483647 h 409"/>
              <a:gd name="T70" fmla="*/ 2147483647 w 362"/>
              <a:gd name="T71" fmla="*/ 2147483647 h 409"/>
              <a:gd name="T72" fmla="*/ 2147483647 w 362"/>
              <a:gd name="T73" fmla="*/ 2147483647 h 409"/>
              <a:gd name="T74" fmla="*/ 2147483647 w 362"/>
              <a:gd name="T75" fmla="*/ 2147483647 h 409"/>
              <a:gd name="T76" fmla="*/ 2147483647 w 362"/>
              <a:gd name="T77" fmla="*/ 2147483647 h 409"/>
              <a:gd name="T78" fmla="*/ 2147483647 w 362"/>
              <a:gd name="T79" fmla="*/ 2147483647 h 409"/>
              <a:gd name="T80" fmla="*/ 2147483647 w 362"/>
              <a:gd name="T81" fmla="*/ 2147483647 h 409"/>
              <a:gd name="T82" fmla="*/ 2147483647 w 362"/>
              <a:gd name="T83" fmla="*/ 2147483647 h 409"/>
              <a:gd name="T84" fmla="*/ 2147483647 w 362"/>
              <a:gd name="T85" fmla="*/ 2147483647 h 409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362" h="409">
                <a:moveTo>
                  <a:pt x="238" y="178"/>
                </a:moveTo>
                <a:cubicBezTo>
                  <a:pt x="239" y="178"/>
                  <a:pt x="240" y="178"/>
                  <a:pt x="242" y="177"/>
                </a:cubicBezTo>
                <a:cubicBezTo>
                  <a:pt x="312" y="138"/>
                  <a:pt x="312" y="138"/>
                  <a:pt x="312" y="138"/>
                </a:cubicBezTo>
                <a:cubicBezTo>
                  <a:pt x="318" y="143"/>
                  <a:pt x="325" y="146"/>
                  <a:pt x="333" y="146"/>
                </a:cubicBezTo>
                <a:cubicBezTo>
                  <a:pt x="338" y="146"/>
                  <a:pt x="343" y="145"/>
                  <a:pt x="347" y="142"/>
                </a:cubicBezTo>
                <a:cubicBezTo>
                  <a:pt x="357" y="137"/>
                  <a:pt x="362" y="127"/>
                  <a:pt x="362" y="117"/>
                </a:cubicBezTo>
                <a:cubicBezTo>
                  <a:pt x="362" y="112"/>
                  <a:pt x="361" y="107"/>
                  <a:pt x="358" y="102"/>
                </a:cubicBezTo>
                <a:cubicBezTo>
                  <a:pt x="352" y="93"/>
                  <a:pt x="343" y="88"/>
                  <a:pt x="332" y="88"/>
                </a:cubicBezTo>
                <a:cubicBezTo>
                  <a:pt x="328" y="88"/>
                  <a:pt x="322" y="89"/>
                  <a:pt x="318" y="92"/>
                </a:cubicBezTo>
                <a:cubicBezTo>
                  <a:pt x="318" y="92"/>
                  <a:pt x="318" y="92"/>
                  <a:pt x="318" y="92"/>
                </a:cubicBezTo>
                <a:cubicBezTo>
                  <a:pt x="308" y="97"/>
                  <a:pt x="303" y="107"/>
                  <a:pt x="303" y="117"/>
                </a:cubicBezTo>
                <a:cubicBezTo>
                  <a:pt x="303" y="119"/>
                  <a:pt x="303" y="122"/>
                  <a:pt x="304" y="124"/>
                </a:cubicBezTo>
                <a:cubicBezTo>
                  <a:pt x="234" y="163"/>
                  <a:pt x="234" y="163"/>
                  <a:pt x="234" y="163"/>
                </a:cubicBezTo>
                <a:cubicBezTo>
                  <a:pt x="230" y="165"/>
                  <a:pt x="229" y="170"/>
                  <a:pt x="231" y="174"/>
                </a:cubicBezTo>
                <a:cubicBezTo>
                  <a:pt x="232" y="176"/>
                  <a:pt x="235" y="178"/>
                  <a:pt x="238" y="178"/>
                </a:cubicBezTo>
                <a:close/>
                <a:moveTo>
                  <a:pt x="326" y="105"/>
                </a:moveTo>
                <a:cubicBezTo>
                  <a:pt x="326" y="105"/>
                  <a:pt x="326" y="105"/>
                  <a:pt x="326" y="105"/>
                </a:cubicBezTo>
                <a:cubicBezTo>
                  <a:pt x="328" y="104"/>
                  <a:pt x="330" y="104"/>
                  <a:pt x="332" y="104"/>
                </a:cubicBezTo>
                <a:cubicBezTo>
                  <a:pt x="337" y="104"/>
                  <a:pt x="342" y="106"/>
                  <a:pt x="344" y="110"/>
                </a:cubicBezTo>
                <a:cubicBezTo>
                  <a:pt x="345" y="112"/>
                  <a:pt x="346" y="115"/>
                  <a:pt x="346" y="117"/>
                </a:cubicBezTo>
                <a:cubicBezTo>
                  <a:pt x="346" y="122"/>
                  <a:pt x="343" y="126"/>
                  <a:pt x="339" y="129"/>
                </a:cubicBezTo>
                <a:cubicBezTo>
                  <a:pt x="337" y="130"/>
                  <a:pt x="335" y="130"/>
                  <a:pt x="333" y="130"/>
                </a:cubicBezTo>
                <a:cubicBezTo>
                  <a:pt x="328" y="130"/>
                  <a:pt x="323" y="128"/>
                  <a:pt x="321" y="124"/>
                </a:cubicBezTo>
                <a:cubicBezTo>
                  <a:pt x="320" y="122"/>
                  <a:pt x="319" y="119"/>
                  <a:pt x="319" y="117"/>
                </a:cubicBezTo>
                <a:cubicBezTo>
                  <a:pt x="319" y="112"/>
                  <a:pt x="322" y="108"/>
                  <a:pt x="326" y="105"/>
                </a:cubicBezTo>
                <a:close/>
                <a:moveTo>
                  <a:pt x="347" y="267"/>
                </a:moveTo>
                <a:cubicBezTo>
                  <a:pt x="343" y="264"/>
                  <a:pt x="338" y="263"/>
                  <a:pt x="333" y="263"/>
                </a:cubicBezTo>
                <a:cubicBezTo>
                  <a:pt x="325" y="263"/>
                  <a:pt x="318" y="266"/>
                  <a:pt x="312" y="271"/>
                </a:cubicBezTo>
                <a:cubicBezTo>
                  <a:pt x="236" y="225"/>
                  <a:pt x="236" y="225"/>
                  <a:pt x="236" y="225"/>
                </a:cubicBezTo>
                <a:cubicBezTo>
                  <a:pt x="238" y="219"/>
                  <a:pt x="239" y="212"/>
                  <a:pt x="239" y="205"/>
                </a:cubicBezTo>
                <a:cubicBezTo>
                  <a:pt x="239" y="200"/>
                  <a:pt x="239" y="195"/>
                  <a:pt x="238" y="190"/>
                </a:cubicBezTo>
                <a:cubicBezTo>
                  <a:pt x="237" y="186"/>
                  <a:pt x="232" y="184"/>
                  <a:pt x="228" y="185"/>
                </a:cubicBezTo>
                <a:cubicBezTo>
                  <a:pt x="224" y="186"/>
                  <a:pt x="221" y="190"/>
                  <a:pt x="222" y="194"/>
                </a:cubicBezTo>
                <a:cubicBezTo>
                  <a:pt x="223" y="198"/>
                  <a:pt x="223" y="201"/>
                  <a:pt x="223" y="205"/>
                </a:cubicBezTo>
                <a:cubicBezTo>
                  <a:pt x="223" y="228"/>
                  <a:pt x="204" y="247"/>
                  <a:pt x="181" y="247"/>
                </a:cubicBezTo>
                <a:cubicBezTo>
                  <a:pt x="157" y="247"/>
                  <a:pt x="138" y="228"/>
                  <a:pt x="138" y="205"/>
                </a:cubicBezTo>
                <a:cubicBezTo>
                  <a:pt x="138" y="181"/>
                  <a:pt x="157" y="162"/>
                  <a:pt x="181" y="162"/>
                </a:cubicBezTo>
                <a:cubicBezTo>
                  <a:pt x="191" y="162"/>
                  <a:pt x="201" y="166"/>
                  <a:pt x="208" y="172"/>
                </a:cubicBezTo>
                <a:cubicBezTo>
                  <a:pt x="211" y="174"/>
                  <a:pt x="216" y="174"/>
                  <a:pt x="219" y="171"/>
                </a:cubicBezTo>
                <a:cubicBezTo>
                  <a:pt x="222" y="167"/>
                  <a:pt x="222" y="162"/>
                  <a:pt x="218" y="159"/>
                </a:cubicBezTo>
                <a:cubicBezTo>
                  <a:pt x="218" y="159"/>
                  <a:pt x="218" y="159"/>
                  <a:pt x="218" y="159"/>
                </a:cubicBezTo>
                <a:cubicBezTo>
                  <a:pt x="210" y="153"/>
                  <a:pt x="200" y="148"/>
                  <a:pt x="189" y="147"/>
                </a:cubicBezTo>
                <a:cubicBezTo>
                  <a:pt x="189" y="58"/>
                  <a:pt x="189" y="58"/>
                  <a:pt x="189" y="58"/>
                </a:cubicBezTo>
                <a:cubicBezTo>
                  <a:pt x="201" y="54"/>
                  <a:pt x="210" y="43"/>
                  <a:pt x="210" y="29"/>
                </a:cubicBezTo>
                <a:cubicBezTo>
                  <a:pt x="210" y="29"/>
                  <a:pt x="210" y="29"/>
                  <a:pt x="210" y="29"/>
                </a:cubicBezTo>
                <a:cubicBezTo>
                  <a:pt x="210" y="13"/>
                  <a:pt x="197" y="0"/>
                  <a:pt x="181" y="0"/>
                </a:cubicBezTo>
                <a:cubicBezTo>
                  <a:pt x="165" y="0"/>
                  <a:pt x="151" y="13"/>
                  <a:pt x="151" y="29"/>
                </a:cubicBezTo>
                <a:cubicBezTo>
                  <a:pt x="151" y="43"/>
                  <a:pt x="160" y="54"/>
                  <a:pt x="173" y="58"/>
                </a:cubicBezTo>
                <a:cubicBezTo>
                  <a:pt x="173" y="147"/>
                  <a:pt x="173" y="147"/>
                  <a:pt x="173" y="147"/>
                </a:cubicBezTo>
                <a:cubicBezTo>
                  <a:pt x="158" y="149"/>
                  <a:pt x="145" y="156"/>
                  <a:pt x="136" y="167"/>
                </a:cubicBezTo>
                <a:cubicBezTo>
                  <a:pt x="57" y="124"/>
                  <a:pt x="57" y="124"/>
                  <a:pt x="57" y="124"/>
                </a:cubicBezTo>
                <a:cubicBezTo>
                  <a:pt x="58" y="122"/>
                  <a:pt x="58" y="119"/>
                  <a:pt x="58" y="117"/>
                </a:cubicBezTo>
                <a:cubicBezTo>
                  <a:pt x="58" y="107"/>
                  <a:pt x="53" y="97"/>
                  <a:pt x="44" y="92"/>
                </a:cubicBezTo>
                <a:cubicBezTo>
                  <a:pt x="44" y="92"/>
                  <a:pt x="44" y="92"/>
                  <a:pt x="44" y="92"/>
                </a:cubicBezTo>
                <a:cubicBezTo>
                  <a:pt x="39" y="89"/>
                  <a:pt x="34" y="88"/>
                  <a:pt x="29" y="88"/>
                </a:cubicBezTo>
                <a:cubicBezTo>
                  <a:pt x="19" y="88"/>
                  <a:pt x="9" y="93"/>
                  <a:pt x="4" y="102"/>
                </a:cubicBezTo>
                <a:cubicBezTo>
                  <a:pt x="1" y="107"/>
                  <a:pt x="0" y="112"/>
                  <a:pt x="0" y="117"/>
                </a:cubicBezTo>
                <a:cubicBezTo>
                  <a:pt x="0" y="127"/>
                  <a:pt x="5" y="137"/>
                  <a:pt x="14" y="142"/>
                </a:cubicBezTo>
                <a:cubicBezTo>
                  <a:pt x="19" y="145"/>
                  <a:pt x="24" y="146"/>
                  <a:pt x="29" y="146"/>
                </a:cubicBezTo>
                <a:cubicBezTo>
                  <a:pt x="29" y="146"/>
                  <a:pt x="29" y="146"/>
                  <a:pt x="29" y="146"/>
                </a:cubicBezTo>
                <a:cubicBezTo>
                  <a:pt x="37" y="146"/>
                  <a:pt x="44" y="143"/>
                  <a:pt x="50" y="138"/>
                </a:cubicBezTo>
                <a:cubicBezTo>
                  <a:pt x="127" y="181"/>
                  <a:pt x="127" y="181"/>
                  <a:pt x="127" y="181"/>
                </a:cubicBezTo>
                <a:cubicBezTo>
                  <a:pt x="124" y="188"/>
                  <a:pt x="122" y="196"/>
                  <a:pt x="122" y="205"/>
                </a:cubicBezTo>
                <a:cubicBezTo>
                  <a:pt x="122" y="212"/>
                  <a:pt x="123" y="219"/>
                  <a:pt x="126" y="225"/>
                </a:cubicBezTo>
                <a:cubicBezTo>
                  <a:pt x="49" y="271"/>
                  <a:pt x="49" y="271"/>
                  <a:pt x="49" y="271"/>
                </a:cubicBezTo>
                <a:cubicBezTo>
                  <a:pt x="44" y="266"/>
                  <a:pt x="37" y="263"/>
                  <a:pt x="29" y="263"/>
                </a:cubicBezTo>
                <a:cubicBezTo>
                  <a:pt x="24" y="263"/>
                  <a:pt x="19" y="264"/>
                  <a:pt x="14" y="267"/>
                </a:cubicBezTo>
                <a:cubicBezTo>
                  <a:pt x="14" y="267"/>
                  <a:pt x="14" y="267"/>
                  <a:pt x="14" y="267"/>
                </a:cubicBezTo>
                <a:cubicBezTo>
                  <a:pt x="5" y="272"/>
                  <a:pt x="0" y="282"/>
                  <a:pt x="0" y="292"/>
                </a:cubicBezTo>
                <a:cubicBezTo>
                  <a:pt x="0" y="297"/>
                  <a:pt x="1" y="302"/>
                  <a:pt x="4" y="307"/>
                </a:cubicBezTo>
                <a:cubicBezTo>
                  <a:pt x="9" y="316"/>
                  <a:pt x="19" y="322"/>
                  <a:pt x="29" y="322"/>
                </a:cubicBezTo>
                <a:cubicBezTo>
                  <a:pt x="29" y="322"/>
                  <a:pt x="29" y="322"/>
                  <a:pt x="29" y="322"/>
                </a:cubicBezTo>
                <a:cubicBezTo>
                  <a:pt x="34" y="322"/>
                  <a:pt x="39" y="320"/>
                  <a:pt x="44" y="318"/>
                </a:cubicBezTo>
                <a:cubicBezTo>
                  <a:pt x="53" y="312"/>
                  <a:pt x="58" y="302"/>
                  <a:pt x="58" y="292"/>
                </a:cubicBezTo>
                <a:cubicBezTo>
                  <a:pt x="58" y="290"/>
                  <a:pt x="58" y="287"/>
                  <a:pt x="57" y="285"/>
                </a:cubicBezTo>
                <a:cubicBezTo>
                  <a:pt x="134" y="239"/>
                  <a:pt x="134" y="239"/>
                  <a:pt x="134" y="239"/>
                </a:cubicBezTo>
                <a:cubicBezTo>
                  <a:pt x="143" y="252"/>
                  <a:pt x="157" y="260"/>
                  <a:pt x="173" y="263"/>
                </a:cubicBezTo>
                <a:cubicBezTo>
                  <a:pt x="173" y="352"/>
                  <a:pt x="173" y="352"/>
                  <a:pt x="173" y="352"/>
                </a:cubicBezTo>
                <a:cubicBezTo>
                  <a:pt x="160" y="355"/>
                  <a:pt x="151" y="366"/>
                  <a:pt x="151" y="380"/>
                </a:cubicBezTo>
                <a:cubicBezTo>
                  <a:pt x="151" y="396"/>
                  <a:pt x="165" y="409"/>
                  <a:pt x="181" y="409"/>
                </a:cubicBezTo>
                <a:cubicBezTo>
                  <a:pt x="197" y="409"/>
                  <a:pt x="210" y="396"/>
                  <a:pt x="210" y="380"/>
                </a:cubicBezTo>
                <a:cubicBezTo>
                  <a:pt x="210" y="366"/>
                  <a:pt x="201" y="355"/>
                  <a:pt x="189" y="352"/>
                </a:cubicBezTo>
                <a:cubicBezTo>
                  <a:pt x="189" y="263"/>
                  <a:pt x="189" y="263"/>
                  <a:pt x="189" y="263"/>
                </a:cubicBezTo>
                <a:cubicBezTo>
                  <a:pt x="205" y="260"/>
                  <a:pt x="219" y="252"/>
                  <a:pt x="228" y="239"/>
                </a:cubicBezTo>
                <a:cubicBezTo>
                  <a:pt x="304" y="285"/>
                  <a:pt x="304" y="285"/>
                  <a:pt x="304" y="285"/>
                </a:cubicBezTo>
                <a:cubicBezTo>
                  <a:pt x="304" y="287"/>
                  <a:pt x="303" y="290"/>
                  <a:pt x="303" y="292"/>
                </a:cubicBezTo>
                <a:cubicBezTo>
                  <a:pt x="303" y="302"/>
                  <a:pt x="308" y="312"/>
                  <a:pt x="318" y="318"/>
                </a:cubicBezTo>
                <a:cubicBezTo>
                  <a:pt x="322" y="320"/>
                  <a:pt x="328" y="322"/>
                  <a:pt x="333" y="322"/>
                </a:cubicBezTo>
                <a:cubicBezTo>
                  <a:pt x="333" y="322"/>
                  <a:pt x="333" y="322"/>
                  <a:pt x="333" y="322"/>
                </a:cubicBezTo>
                <a:cubicBezTo>
                  <a:pt x="343" y="322"/>
                  <a:pt x="352" y="316"/>
                  <a:pt x="358" y="307"/>
                </a:cubicBezTo>
                <a:cubicBezTo>
                  <a:pt x="361" y="302"/>
                  <a:pt x="362" y="297"/>
                  <a:pt x="362" y="292"/>
                </a:cubicBezTo>
                <a:cubicBezTo>
                  <a:pt x="362" y="282"/>
                  <a:pt x="357" y="272"/>
                  <a:pt x="347" y="267"/>
                </a:cubicBezTo>
                <a:close/>
                <a:moveTo>
                  <a:pt x="167" y="29"/>
                </a:moveTo>
                <a:cubicBezTo>
                  <a:pt x="167" y="22"/>
                  <a:pt x="173" y="16"/>
                  <a:pt x="181" y="16"/>
                </a:cubicBezTo>
                <a:cubicBezTo>
                  <a:pt x="188" y="16"/>
                  <a:pt x="194" y="22"/>
                  <a:pt x="194" y="29"/>
                </a:cubicBezTo>
                <a:cubicBezTo>
                  <a:pt x="194" y="29"/>
                  <a:pt x="194" y="29"/>
                  <a:pt x="194" y="29"/>
                </a:cubicBezTo>
                <a:cubicBezTo>
                  <a:pt x="194" y="37"/>
                  <a:pt x="188" y="43"/>
                  <a:pt x="181" y="43"/>
                </a:cubicBezTo>
                <a:cubicBezTo>
                  <a:pt x="173" y="43"/>
                  <a:pt x="167" y="37"/>
                  <a:pt x="167" y="29"/>
                </a:cubicBezTo>
                <a:close/>
                <a:moveTo>
                  <a:pt x="41" y="124"/>
                </a:moveTo>
                <a:cubicBezTo>
                  <a:pt x="38" y="128"/>
                  <a:pt x="34" y="130"/>
                  <a:pt x="29" y="130"/>
                </a:cubicBezTo>
                <a:cubicBezTo>
                  <a:pt x="27" y="130"/>
                  <a:pt x="24" y="130"/>
                  <a:pt x="22" y="129"/>
                </a:cubicBezTo>
                <a:cubicBezTo>
                  <a:pt x="18" y="126"/>
                  <a:pt x="16" y="122"/>
                  <a:pt x="16" y="117"/>
                </a:cubicBezTo>
                <a:cubicBezTo>
                  <a:pt x="16" y="115"/>
                  <a:pt x="16" y="112"/>
                  <a:pt x="17" y="110"/>
                </a:cubicBezTo>
                <a:cubicBezTo>
                  <a:pt x="20" y="106"/>
                  <a:pt x="24" y="104"/>
                  <a:pt x="29" y="104"/>
                </a:cubicBezTo>
                <a:cubicBezTo>
                  <a:pt x="31" y="104"/>
                  <a:pt x="34" y="104"/>
                  <a:pt x="36" y="105"/>
                </a:cubicBezTo>
                <a:cubicBezTo>
                  <a:pt x="40" y="108"/>
                  <a:pt x="42" y="112"/>
                  <a:pt x="42" y="117"/>
                </a:cubicBezTo>
                <a:cubicBezTo>
                  <a:pt x="42" y="119"/>
                  <a:pt x="42" y="122"/>
                  <a:pt x="41" y="124"/>
                </a:cubicBezTo>
                <a:close/>
                <a:moveTo>
                  <a:pt x="36" y="304"/>
                </a:moveTo>
                <a:cubicBezTo>
                  <a:pt x="34" y="305"/>
                  <a:pt x="31" y="306"/>
                  <a:pt x="29" y="306"/>
                </a:cubicBezTo>
                <a:cubicBezTo>
                  <a:pt x="24" y="306"/>
                  <a:pt x="20" y="303"/>
                  <a:pt x="18" y="299"/>
                </a:cubicBezTo>
                <a:cubicBezTo>
                  <a:pt x="16" y="297"/>
                  <a:pt x="16" y="294"/>
                  <a:pt x="16" y="292"/>
                </a:cubicBezTo>
                <a:cubicBezTo>
                  <a:pt x="16" y="288"/>
                  <a:pt x="18" y="283"/>
                  <a:pt x="22" y="281"/>
                </a:cubicBezTo>
                <a:cubicBezTo>
                  <a:pt x="22" y="281"/>
                  <a:pt x="22" y="281"/>
                  <a:pt x="22" y="281"/>
                </a:cubicBezTo>
                <a:cubicBezTo>
                  <a:pt x="25" y="279"/>
                  <a:pt x="27" y="279"/>
                  <a:pt x="29" y="279"/>
                </a:cubicBezTo>
                <a:cubicBezTo>
                  <a:pt x="34" y="279"/>
                  <a:pt x="38" y="281"/>
                  <a:pt x="41" y="286"/>
                </a:cubicBezTo>
                <a:cubicBezTo>
                  <a:pt x="42" y="288"/>
                  <a:pt x="42" y="290"/>
                  <a:pt x="42" y="292"/>
                </a:cubicBezTo>
                <a:cubicBezTo>
                  <a:pt x="42" y="297"/>
                  <a:pt x="40" y="301"/>
                  <a:pt x="36" y="304"/>
                </a:cubicBezTo>
                <a:close/>
                <a:moveTo>
                  <a:pt x="194" y="380"/>
                </a:moveTo>
                <a:cubicBezTo>
                  <a:pt x="194" y="387"/>
                  <a:pt x="188" y="393"/>
                  <a:pt x="181" y="393"/>
                </a:cubicBezTo>
                <a:cubicBezTo>
                  <a:pt x="173" y="393"/>
                  <a:pt x="167" y="387"/>
                  <a:pt x="167" y="380"/>
                </a:cubicBezTo>
                <a:cubicBezTo>
                  <a:pt x="167" y="372"/>
                  <a:pt x="173" y="367"/>
                  <a:pt x="181" y="366"/>
                </a:cubicBezTo>
                <a:cubicBezTo>
                  <a:pt x="188" y="367"/>
                  <a:pt x="194" y="372"/>
                  <a:pt x="194" y="380"/>
                </a:cubicBezTo>
                <a:close/>
                <a:moveTo>
                  <a:pt x="344" y="299"/>
                </a:moveTo>
                <a:cubicBezTo>
                  <a:pt x="342" y="303"/>
                  <a:pt x="337" y="306"/>
                  <a:pt x="333" y="306"/>
                </a:cubicBezTo>
                <a:cubicBezTo>
                  <a:pt x="330" y="306"/>
                  <a:pt x="328" y="305"/>
                  <a:pt x="326" y="304"/>
                </a:cubicBezTo>
                <a:cubicBezTo>
                  <a:pt x="322" y="301"/>
                  <a:pt x="319" y="297"/>
                  <a:pt x="319" y="292"/>
                </a:cubicBezTo>
                <a:cubicBezTo>
                  <a:pt x="319" y="290"/>
                  <a:pt x="320" y="288"/>
                  <a:pt x="321" y="286"/>
                </a:cubicBezTo>
                <a:cubicBezTo>
                  <a:pt x="323" y="281"/>
                  <a:pt x="328" y="279"/>
                  <a:pt x="333" y="279"/>
                </a:cubicBezTo>
                <a:cubicBezTo>
                  <a:pt x="335" y="279"/>
                  <a:pt x="337" y="279"/>
                  <a:pt x="339" y="281"/>
                </a:cubicBezTo>
                <a:cubicBezTo>
                  <a:pt x="343" y="283"/>
                  <a:pt x="346" y="288"/>
                  <a:pt x="346" y="292"/>
                </a:cubicBezTo>
                <a:cubicBezTo>
                  <a:pt x="346" y="294"/>
                  <a:pt x="345" y="297"/>
                  <a:pt x="344" y="29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181818"/>
              </a:solidFill>
              <a:effectLst/>
              <a:uLnTx/>
              <a:uFillTx/>
              <a:latin typeface="Ericsson Hilda"/>
              <a:ea typeface="+mn-ea"/>
              <a:cs typeface="+mn-cs"/>
            </a:endParaRPr>
          </a:p>
        </p:txBody>
      </p:sp>
      <p:sp>
        <p:nvSpPr>
          <p:cNvPr id="27" name="Text Box 1"/>
          <p:cNvSpPr txBox="1">
            <a:spLocks noChangeArrowheads="1"/>
          </p:cNvSpPr>
          <p:nvPr/>
        </p:nvSpPr>
        <p:spPr bwMode="auto">
          <a:xfrm>
            <a:off x="145737" y="700206"/>
            <a:ext cx="8727219" cy="47522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72000" tIns="0" rIns="72000" bIns="0" anchor="ctr"/>
          <a:lstStyle>
            <a:lvl1pPr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89BA17"/>
              </a:buClr>
              <a:buSzTx/>
              <a:buFontTx/>
              <a:buNone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Need to remove all hardcode Input Paths from your code. Examples as below:</a:t>
            </a:r>
          </a:p>
          <a:p>
            <a:pPr marL="742950" marR="0" lvl="1" indent="0" algn="l" defTabSz="914400" rtl="0" eaLnBrk="0" fontAlgn="auto" latinLnBrk="0" hangingPunct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89BA17"/>
              </a:buClr>
              <a:buSzTx/>
              <a:buFontTx/>
              <a:buNone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Old code:</a:t>
            </a:r>
          </a:p>
          <a:p>
            <a:pPr marL="742950" marR="0" lvl="1" indent="0" algn="l" defTabSz="914400" rtl="0" eaLnBrk="0" fontAlgn="auto" latinLnBrk="0" hangingPunct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89BA17"/>
              </a:buClr>
              <a:buSzTx/>
              <a:buFontTx/>
              <a:buNone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742950" marR="0" lvl="1" indent="0" algn="l" defTabSz="914400" rtl="0" eaLnBrk="0" fontAlgn="auto" latinLnBrk="0" hangingPunc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89BA17"/>
              </a:buClr>
              <a:buSzTx/>
              <a:buFontTx/>
              <a:buNone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1028700" marR="0" lvl="1" indent="-285750" algn="l" defTabSz="914400" rtl="0" eaLnBrk="0" fontAlgn="auto" latinLnBrk="0" hangingPunc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89BA17"/>
              </a:buClr>
              <a:buSzTx/>
              <a:buFont typeface="Wingdings" panose="05000000000000000000" pitchFamily="2" charset="2"/>
              <a:buChar char="Ø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1028700" marR="0" lvl="1" indent="-285750" algn="l" defTabSz="914400" rtl="0" eaLnBrk="0" fontAlgn="auto" latinLnBrk="0" hangingPunc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89BA17"/>
              </a:buClr>
              <a:buSzTx/>
              <a:buFont typeface="Wingdings" panose="05000000000000000000" pitchFamily="2" charset="2"/>
              <a:buChar char="Ø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1028700" marR="0" lvl="1" indent="-285750" algn="l" defTabSz="914400" rtl="0" eaLnBrk="0" fontAlgn="auto" latinLnBrk="0" hangingPunc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89BA17"/>
              </a:buClr>
              <a:buSzTx/>
              <a:buFont typeface="Wingdings" panose="05000000000000000000" pitchFamily="2" charset="2"/>
              <a:buChar char="Ø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742950" marR="0" lvl="1" indent="0" algn="l" defTabSz="914400" rtl="0" eaLnBrk="0" fontAlgn="auto" latinLnBrk="0" hangingPunc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89BA17"/>
              </a:buClr>
              <a:buSzTx/>
              <a:buFontTx/>
              <a:buNone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New code:</a:t>
            </a:r>
          </a:p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89BA17"/>
              </a:buClr>
              <a:buSzTx/>
              <a:buFontTx/>
              <a:buNone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742950" marR="0" lvl="1" indent="0" algn="l" defTabSz="914400" rtl="0" eaLnBrk="0" fontAlgn="auto" latinLnBrk="0" hangingPunc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89BA17"/>
              </a:buClr>
              <a:buSzTx/>
              <a:buFontTx/>
              <a:buNone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742950" marR="0" lvl="1" indent="0" algn="l" defTabSz="914400" rtl="0" eaLnBrk="0" fontAlgn="auto" latinLnBrk="0" hangingPunc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89BA17"/>
              </a:buClr>
              <a:buSzTx/>
              <a:buFontTx/>
              <a:buNone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28" name="Group 27"/>
          <p:cNvGrpSpPr/>
          <p:nvPr/>
        </p:nvGrpSpPr>
        <p:grpSpPr>
          <a:xfrm>
            <a:off x="345583" y="1618939"/>
            <a:ext cx="8873367" cy="2027196"/>
            <a:chOff x="316428" y="2559709"/>
            <a:chExt cx="8555492" cy="1680987"/>
          </a:xfrm>
        </p:grpSpPr>
        <p:pic>
          <p:nvPicPr>
            <p:cNvPr id="29" name="Picture 28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16428" y="2559709"/>
              <a:ext cx="8555492" cy="1680987"/>
            </a:xfrm>
            <a:prstGeom prst="rect">
              <a:avLst/>
            </a:prstGeom>
            <a:ln>
              <a:solidFill>
                <a:srgbClr val="FFFFFF"/>
              </a:solidFill>
            </a:ln>
          </p:spPr>
        </p:pic>
        <p:sp>
          <p:nvSpPr>
            <p:cNvPr id="30" name="Rectangle 29"/>
            <p:cNvSpPr/>
            <p:nvPr/>
          </p:nvSpPr>
          <p:spPr bwMode="auto">
            <a:xfrm>
              <a:off x="2815820" y="2758021"/>
              <a:ext cx="1436238" cy="222205"/>
            </a:xfrm>
            <a:prstGeom prst="rect">
              <a:avLst/>
            </a:prstGeom>
            <a:solidFill>
              <a:srgbClr val="FF0000">
                <a:alpha val="0"/>
              </a:srgbClr>
            </a:solidFill>
            <a:ln w="2540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45720" rIns="7200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1" name="Rectangle 30"/>
            <p:cNvSpPr/>
            <p:nvPr/>
          </p:nvSpPr>
          <p:spPr bwMode="auto">
            <a:xfrm>
              <a:off x="5158126" y="3611460"/>
              <a:ext cx="1918535" cy="218446"/>
            </a:xfrm>
            <a:prstGeom prst="rect">
              <a:avLst/>
            </a:prstGeom>
            <a:solidFill>
              <a:srgbClr val="FF0000">
                <a:alpha val="0"/>
              </a:srgbClr>
            </a:solidFill>
            <a:ln w="2540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45720" rIns="7200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313435" y="4093683"/>
            <a:ext cx="8905515" cy="1701161"/>
            <a:chOff x="313435" y="4093683"/>
            <a:chExt cx="8559521" cy="1558585"/>
          </a:xfrm>
        </p:grpSpPr>
        <p:pic>
          <p:nvPicPr>
            <p:cNvPr id="33" name="Picture 3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13435" y="4093683"/>
              <a:ext cx="8559521" cy="1558585"/>
            </a:xfrm>
            <a:prstGeom prst="rect">
              <a:avLst/>
            </a:prstGeom>
          </p:spPr>
        </p:pic>
        <p:sp>
          <p:nvSpPr>
            <p:cNvPr id="34" name="Rectangle 33"/>
            <p:cNvSpPr/>
            <p:nvPr/>
          </p:nvSpPr>
          <p:spPr bwMode="auto">
            <a:xfrm>
              <a:off x="3709734" y="4293620"/>
              <a:ext cx="4505599" cy="224898"/>
            </a:xfrm>
            <a:prstGeom prst="rect">
              <a:avLst/>
            </a:prstGeom>
            <a:solidFill>
              <a:srgbClr val="00B050">
                <a:alpha val="0"/>
              </a:srgbClr>
            </a:solidFill>
            <a:ln w="25400" cap="flat" cmpd="sng" algn="ctr">
              <a:solidFill>
                <a:srgbClr val="00B05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45720" rIns="7200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5" name="Rectangle 34"/>
            <p:cNvSpPr/>
            <p:nvPr/>
          </p:nvSpPr>
          <p:spPr bwMode="auto">
            <a:xfrm>
              <a:off x="4787065" y="5115254"/>
              <a:ext cx="1780795" cy="195669"/>
            </a:xfrm>
            <a:prstGeom prst="rect">
              <a:avLst/>
            </a:prstGeom>
            <a:solidFill>
              <a:srgbClr val="FF0000">
                <a:alpha val="0"/>
              </a:srgbClr>
            </a:solidFill>
            <a:ln w="25400" cap="flat" cmpd="sng" algn="ctr">
              <a:solidFill>
                <a:srgbClr val="00B05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45720" rIns="7200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sp>
        <p:nvSpPr>
          <p:cNvPr id="36" name="TextBox 35"/>
          <p:cNvSpPr txBox="1"/>
          <p:nvPr/>
        </p:nvSpPr>
        <p:spPr>
          <a:xfrm>
            <a:off x="430727" y="5886770"/>
            <a:ext cx="83886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89BA17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ricsson Hilda"/>
                <a:ea typeface="+mn-ea"/>
                <a:cs typeface="Arial" pitchFamily="34" charset="0"/>
              </a:rPr>
              <a:t>As shown in above images, please changes your hard coded path accordingly. And make changes in your complete code to remove hard coded path for input path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181818"/>
              </a:solidFill>
              <a:effectLst/>
              <a:uLnTx/>
              <a:uFillTx/>
              <a:latin typeface="Ericsson Hilda"/>
              <a:ea typeface="+mn-ea"/>
              <a:cs typeface="+mn-cs"/>
            </a:endParaRPr>
          </a:p>
        </p:txBody>
      </p:sp>
      <p:pic>
        <p:nvPicPr>
          <p:cNvPr id="37" name="Picture 11">
            <a:extLst/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22391" y="476250"/>
            <a:ext cx="190184" cy="256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17840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A5D622B-A492-4494-872F-86FEB509D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85820" y="129682"/>
            <a:ext cx="8353425" cy="1081088"/>
          </a:xfrm>
        </p:spPr>
        <p:txBody>
          <a:bodyPr/>
          <a:lstStyle/>
          <a:p>
            <a:pPr algn="ctr"/>
            <a:r>
              <a:rPr lang="en-US" sz="4400" dirty="0">
                <a:solidFill>
                  <a:schemeClr val="bg1"/>
                </a:solidFill>
              </a:rPr>
              <a:t>Required Macro Changes for Output</a:t>
            </a:r>
            <a:endParaRPr lang="sv-SE" sz="4400" dirty="0">
              <a:solidFill>
                <a:schemeClr val="bg1"/>
              </a:solidFill>
            </a:endParaRPr>
          </a:p>
        </p:txBody>
      </p:sp>
      <p:grpSp>
        <p:nvGrpSpPr>
          <p:cNvPr id="37" name="Group 21"/>
          <p:cNvGrpSpPr>
            <a:grpSpLocks/>
          </p:cNvGrpSpPr>
          <p:nvPr/>
        </p:nvGrpSpPr>
        <p:grpSpPr bwMode="auto">
          <a:xfrm>
            <a:off x="4179438" y="2149145"/>
            <a:ext cx="757741" cy="376921"/>
            <a:chOff x="2321750" y="3620427"/>
            <a:chExt cx="2782800" cy="1441093"/>
          </a:xfrm>
        </p:grpSpPr>
        <p:grpSp>
          <p:nvGrpSpPr>
            <p:cNvPr id="38" name="Group 4"/>
            <p:cNvGrpSpPr>
              <a:grpSpLocks/>
            </p:cNvGrpSpPr>
            <p:nvPr/>
          </p:nvGrpSpPr>
          <p:grpSpPr bwMode="auto">
            <a:xfrm>
              <a:off x="2633279" y="3620427"/>
              <a:ext cx="900057" cy="1441093"/>
              <a:chOff x="3345891" y="2921611"/>
              <a:chExt cx="894806" cy="1433513"/>
            </a:xfrm>
          </p:grpSpPr>
          <p:grpSp>
            <p:nvGrpSpPr>
              <p:cNvPr id="45" name="Group 44"/>
              <p:cNvGrpSpPr/>
              <p:nvPr/>
            </p:nvGrpSpPr>
            <p:grpSpPr>
              <a:xfrm>
                <a:off x="3345891" y="2921611"/>
                <a:ext cx="258583" cy="1433513"/>
                <a:chOff x="400050" y="2209800"/>
                <a:chExt cx="700088" cy="2644775"/>
              </a:xfrm>
              <a:solidFill>
                <a:srgbClr val="FFFFFF">
                  <a:lumMod val="95000"/>
                </a:srgbClr>
              </a:solidFill>
            </p:grpSpPr>
            <p:sp>
              <p:nvSpPr>
                <p:cNvPr id="52" name="Freeform 3"/>
                <p:cNvSpPr>
                  <a:spLocks noChangeAspect="1"/>
                </p:cNvSpPr>
                <p:nvPr/>
              </p:nvSpPr>
              <p:spPr bwMode="auto">
                <a:xfrm>
                  <a:off x="400050" y="2209800"/>
                  <a:ext cx="274638" cy="2644775"/>
                </a:xfrm>
                <a:custGeom>
                  <a:avLst/>
                  <a:gdLst>
                    <a:gd name="T0" fmla="*/ 2147483647 w 73"/>
                    <a:gd name="T1" fmla="*/ 2147483647 h 705"/>
                    <a:gd name="T2" fmla="*/ 2147483647 w 73"/>
                    <a:gd name="T3" fmla="*/ 2147483647 h 705"/>
                    <a:gd name="T4" fmla="*/ 2147483647 w 73"/>
                    <a:gd name="T5" fmla="*/ 2147483647 h 705"/>
                    <a:gd name="T6" fmla="*/ 0 w 73"/>
                    <a:gd name="T7" fmla="*/ 2147483647 h 705"/>
                    <a:gd name="T8" fmla="*/ 0 w 73"/>
                    <a:gd name="T9" fmla="*/ 2147483647 h 705"/>
                    <a:gd name="T10" fmla="*/ 0 w 73"/>
                    <a:gd name="T11" fmla="*/ 2147483647 h 705"/>
                    <a:gd name="T12" fmla="*/ 2147483647 w 73"/>
                    <a:gd name="T13" fmla="*/ 0 h 705"/>
                    <a:gd name="T14" fmla="*/ 2147483647 w 73"/>
                    <a:gd name="T15" fmla="*/ 0 h 705"/>
                    <a:gd name="T16" fmla="*/ 2147483647 w 73"/>
                    <a:gd name="T17" fmla="*/ 0 h 705"/>
                    <a:gd name="T18" fmla="*/ 2147483647 w 73"/>
                    <a:gd name="T19" fmla="*/ 0 h 705"/>
                    <a:gd name="T20" fmla="*/ 2147483647 w 73"/>
                    <a:gd name="T21" fmla="*/ 0 h 705"/>
                    <a:gd name="T22" fmla="*/ 2147483647 w 73"/>
                    <a:gd name="T23" fmla="*/ 2147483647 h 705"/>
                    <a:gd name="T24" fmla="*/ 2147483647 w 73"/>
                    <a:gd name="T25" fmla="*/ 2147483647 h 705"/>
                    <a:gd name="T26" fmla="*/ 2147483647 w 73"/>
                    <a:gd name="T27" fmla="*/ 2147483647 h 705"/>
                    <a:gd name="T28" fmla="*/ 2147483647 w 73"/>
                    <a:gd name="T29" fmla="*/ 2147483647 h 705"/>
                    <a:gd name="T30" fmla="*/ 2147483647 w 73"/>
                    <a:gd name="T31" fmla="*/ 2147483647 h 705"/>
                    <a:gd name="T32" fmla="*/ 2147483647 w 73"/>
                    <a:gd name="T33" fmla="*/ 2147483647 h 705"/>
                    <a:gd name="T34" fmla="*/ 2147483647 w 73"/>
                    <a:gd name="T35" fmla="*/ 2147483647 h 705"/>
                    <a:gd name="T36" fmla="*/ 2147483647 w 73"/>
                    <a:gd name="T37" fmla="*/ 2147483647 h 705"/>
                    <a:gd name="T38" fmla="*/ 2147483647 w 73"/>
                    <a:gd name="T39" fmla="*/ 2147483647 h 705"/>
                    <a:gd name="T40" fmla="*/ 2147483647 w 73"/>
                    <a:gd name="T41" fmla="*/ 2147483647 h 705"/>
                    <a:gd name="T42" fmla="*/ 2147483647 w 73"/>
                    <a:gd name="T43" fmla="*/ 2147483647 h 705"/>
                    <a:gd name="T44" fmla="*/ 2147483647 w 73"/>
                    <a:gd name="T45" fmla="*/ 2147483647 h 705"/>
                    <a:gd name="T46" fmla="*/ 2147483647 w 73"/>
                    <a:gd name="T47" fmla="*/ 2147483647 h 705"/>
                    <a:gd name="T48" fmla="*/ 2147483647 w 73"/>
                    <a:gd name="T49" fmla="*/ 2147483647 h 705"/>
                    <a:gd name="T50" fmla="*/ 2147483647 w 73"/>
                    <a:gd name="T51" fmla="*/ 2147483647 h 705"/>
                    <a:gd name="T52" fmla="*/ 2147483647 w 73"/>
                    <a:gd name="T53" fmla="*/ 2147483647 h 705"/>
                    <a:gd name="T54" fmla="*/ 2147483647 w 73"/>
                    <a:gd name="T55" fmla="*/ 2147483647 h 705"/>
                    <a:gd name="T56" fmla="*/ 2147483647 w 73"/>
                    <a:gd name="T57" fmla="*/ 2147483647 h 705"/>
                    <a:gd name="T58" fmla="*/ 2147483647 w 73"/>
                    <a:gd name="T59" fmla="*/ 2147483647 h 705"/>
                    <a:gd name="T60" fmla="*/ 2147483647 w 73"/>
                    <a:gd name="T61" fmla="*/ 2147483647 h 705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w 73"/>
                    <a:gd name="T94" fmla="*/ 0 h 705"/>
                    <a:gd name="T95" fmla="*/ 73 w 73"/>
                    <a:gd name="T96" fmla="*/ 705 h 705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T93" t="T94" r="T95" b="T96"/>
                  <a:pathLst>
                    <a:path w="73" h="705">
                      <a:moveTo>
                        <a:pt x="39" y="705"/>
                      </a:moveTo>
                      <a:cubicBezTo>
                        <a:pt x="33" y="705"/>
                        <a:pt x="29" y="705"/>
                        <a:pt x="29" y="705"/>
                      </a:cubicBezTo>
                      <a:cubicBezTo>
                        <a:pt x="29" y="705"/>
                        <a:pt x="29" y="705"/>
                        <a:pt x="29" y="705"/>
                      </a:cubicBezTo>
                      <a:cubicBezTo>
                        <a:pt x="13" y="705"/>
                        <a:pt x="0" y="692"/>
                        <a:pt x="0" y="676"/>
                      </a:cubicBezTo>
                      <a:cubicBezTo>
                        <a:pt x="0" y="676"/>
                        <a:pt x="0" y="676"/>
                        <a:pt x="0" y="676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29" y="0"/>
                        <a:pt x="29" y="0"/>
                        <a:pt x="29" y="0"/>
                      </a:cubicBezTo>
                      <a:cubicBezTo>
                        <a:pt x="29" y="0"/>
                        <a:pt x="43" y="0"/>
                        <a:pt x="6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9" y="0"/>
                        <a:pt x="73" y="3"/>
                        <a:pt x="73" y="8"/>
                      </a:cubicBezTo>
                      <a:cubicBezTo>
                        <a:pt x="73" y="8"/>
                        <a:pt x="73" y="8"/>
                        <a:pt x="73" y="8"/>
                      </a:cubicBezTo>
                      <a:cubicBezTo>
                        <a:pt x="73" y="12"/>
                        <a:pt x="69" y="16"/>
                        <a:pt x="65" y="16"/>
                      </a:cubicBezTo>
                      <a:cubicBezTo>
                        <a:pt x="65" y="16"/>
                        <a:pt x="65" y="16"/>
                        <a:pt x="65" y="16"/>
                      </a:cubicBezTo>
                      <a:cubicBezTo>
                        <a:pt x="54" y="16"/>
                        <a:pt x="45" y="16"/>
                        <a:pt x="39" y="16"/>
                      </a:cubicBezTo>
                      <a:cubicBezTo>
                        <a:pt x="39" y="16"/>
                        <a:pt x="39" y="16"/>
                        <a:pt x="39" y="16"/>
                      </a:cubicBezTo>
                      <a:cubicBezTo>
                        <a:pt x="33" y="16"/>
                        <a:pt x="29" y="16"/>
                        <a:pt x="29" y="16"/>
                      </a:cubicBezTo>
                      <a:cubicBezTo>
                        <a:pt x="29" y="16"/>
                        <a:pt x="29" y="16"/>
                        <a:pt x="29" y="16"/>
                      </a:cubicBezTo>
                      <a:cubicBezTo>
                        <a:pt x="22" y="16"/>
                        <a:pt x="16" y="22"/>
                        <a:pt x="16" y="29"/>
                      </a:cubicBezTo>
                      <a:cubicBezTo>
                        <a:pt x="16" y="29"/>
                        <a:pt x="16" y="29"/>
                        <a:pt x="16" y="29"/>
                      </a:cubicBezTo>
                      <a:cubicBezTo>
                        <a:pt x="16" y="676"/>
                        <a:pt x="16" y="676"/>
                        <a:pt x="16" y="676"/>
                      </a:cubicBezTo>
                      <a:cubicBezTo>
                        <a:pt x="16" y="683"/>
                        <a:pt x="22" y="689"/>
                        <a:pt x="29" y="689"/>
                      </a:cubicBezTo>
                      <a:cubicBezTo>
                        <a:pt x="29" y="689"/>
                        <a:pt x="29" y="689"/>
                        <a:pt x="29" y="689"/>
                      </a:cubicBezTo>
                      <a:cubicBezTo>
                        <a:pt x="29" y="689"/>
                        <a:pt x="43" y="689"/>
                        <a:pt x="65" y="689"/>
                      </a:cubicBezTo>
                      <a:cubicBezTo>
                        <a:pt x="65" y="689"/>
                        <a:pt x="65" y="689"/>
                        <a:pt x="65" y="689"/>
                      </a:cubicBezTo>
                      <a:cubicBezTo>
                        <a:pt x="69" y="689"/>
                        <a:pt x="73" y="693"/>
                        <a:pt x="73" y="697"/>
                      </a:cubicBezTo>
                      <a:cubicBezTo>
                        <a:pt x="73" y="697"/>
                        <a:pt x="73" y="697"/>
                        <a:pt x="73" y="697"/>
                      </a:cubicBezTo>
                      <a:cubicBezTo>
                        <a:pt x="73" y="701"/>
                        <a:pt x="69" y="705"/>
                        <a:pt x="65" y="705"/>
                      </a:cubicBezTo>
                      <a:cubicBezTo>
                        <a:pt x="65" y="705"/>
                        <a:pt x="65" y="705"/>
                        <a:pt x="65" y="705"/>
                      </a:cubicBezTo>
                      <a:cubicBezTo>
                        <a:pt x="54" y="705"/>
                        <a:pt x="45" y="705"/>
                        <a:pt x="39" y="70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 cmpd="sng" algn="ctr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58585A"/>
                    </a:solidFill>
                    <a:effectLst/>
                    <a:uLnTx/>
                    <a:uFillTx/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53" name="Freeform 13"/>
                <p:cNvSpPr>
                  <a:spLocks noChangeAspect="1"/>
                </p:cNvSpPr>
                <p:nvPr/>
              </p:nvSpPr>
              <p:spPr bwMode="auto">
                <a:xfrm>
                  <a:off x="825500" y="2209800"/>
                  <a:ext cx="274638" cy="2644775"/>
                </a:xfrm>
                <a:custGeom>
                  <a:avLst/>
                  <a:gdLst>
                    <a:gd name="T0" fmla="*/ 0 w 73"/>
                    <a:gd name="T1" fmla="*/ 2147483647 h 705"/>
                    <a:gd name="T2" fmla="*/ 2147483647 w 73"/>
                    <a:gd name="T3" fmla="*/ 2147483647 h 705"/>
                    <a:gd name="T4" fmla="*/ 2147483647 w 73"/>
                    <a:gd name="T5" fmla="*/ 2147483647 h 705"/>
                    <a:gd name="T6" fmla="*/ 2147483647 w 73"/>
                    <a:gd name="T7" fmla="*/ 2147483647 h 705"/>
                    <a:gd name="T8" fmla="*/ 2147483647 w 73"/>
                    <a:gd name="T9" fmla="*/ 2147483647 h 705"/>
                    <a:gd name="T10" fmla="*/ 2147483647 w 73"/>
                    <a:gd name="T11" fmla="*/ 2147483647 h 705"/>
                    <a:gd name="T12" fmla="*/ 2147483647 w 73"/>
                    <a:gd name="T13" fmla="*/ 2147483647 h 705"/>
                    <a:gd name="T14" fmla="*/ 2147483647 w 73"/>
                    <a:gd name="T15" fmla="*/ 2147483647 h 705"/>
                    <a:gd name="T16" fmla="*/ 2147483647 w 73"/>
                    <a:gd name="T17" fmla="*/ 2147483647 h 705"/>
                    <a:gd name="T18" fmla="*/ 2147483647 w 73"/>
                    <a:gd name="T19" fmla="*/ 2147483647 h 705"/>
                    <a:gd name="T20" fmla="*/ 2147483647 w 73"/>
                    <a:gd name="T21" fmla="*/ 2147483647 h 705"/>
                    <a:gd name="T22" fmla="*/ 2147483647 w 73"/>
                    <a:gd name="T23" fmla="*/ 2147483647 h 705"/>
                    <a:gd name="T24" fmla="*/ 0 w 73"/>
                    <a:gd name="T25" fmla="*/ 2147483647 h 705"/>
                    <a:gd name="T26" fmla="*/ 0 w 73"/>
                    <a:gd name="T27" fmla="*/ 2147483647 h 705"/>
                    <a:gd name="T28" fmla="*/ 2147483647 w 73"/>
                    <a:gd name="T29" fmla="*/ 0 h 705"/>
                    <a:gd name="T30" fmla="*/ 2147483647 w 73"/>
                    <a:gd name="T31" fmla="*/ 0 h 705"/>
                    <a:gd name="T32" fmla="*/ 2147483647 w 73"/>
                    <a:gd name="T33" fmla="*/ 0 h 705"/>
                    <a:gd name="T34" fmla="*/ 2147483647 w 73"/>
                    <a:gd name="T35" fmla="*/ 0 h 705"/>
                    <a:gd name="T36" fmla="*/ 2147483647 w 73"/>
                    <a:gd name="T37" fmla="*/ 2147483647 h 705"/>
                    <a:gd name="T38" fmla="*/ 2147483647 w 73"/>
                    <a:gd name="T39" fmla="*/ 2147483647 h 705"/>
                    <a:gd name="T40" fmla="*/ 2147483647 w 73"/>
                    <a:gd name="T41" fmla="*/ 2147483647 h 705"/>
                    <a:gd name="T42" fmla="*/ 2147483647 w 73"/>
                    <a:gd name="T43" fmla="*/ 2147483647 h 705"/>
                    <a:gd name="T44" fmla="*/ 2147483647 w 73"/>
                    <a:gd name="T45" fmla="*/ 2147483647 h 705"/>
                    <a:gd name="T46" fmla="*/ 2147483647 w 73"/>
                    <a:gd name="T47" fmla="*/ 2147483647 h 705"/>
                    <a:gd name="T48" fmla="*/ 2147483647 w 73"/>
                    <a:gd name="T49" fmla="*/ 2147483647 h 705"/>
                    <a:gd name="T50" fmla="*/ 0 w 73"/>
                    <a:gd name="T51" fmla="*/ 2147483647 h 705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73"/>
                    <a:gd name="T79" fmla="*/ 0 h 705"/>
                    <a:gd name="T80" fmla="*/ 73 w 73"/>
                    <a:gd name="T81" fmla="*/ 705 h 705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73" h="705">
                      <a:moveTo>
                        <a:pt x="0" y="697"/>
                      </a:moveTo>
                      <a:cubicBezTo>
                        <a:pt x="0" y="693"/>
                        <a:pt x="4" y="689"/>
                        <a:pt x="8" y="689"/>
                      </a:cubicBezTo>
                      <a:cubicBezTo>
                        <a:pt x="8" y="689"/>
                        <a:pt x="8" y="689"/>
                        <a:pt x="8" y="689"/>
                      </a:cubicBezTo>
                      <a:cubicBezTo>
                        <a:pt x="30" y="689"/>
                        <a:pt x="44" y="689"/>
                        <a:pt x="44" y="689"/>
                      </a:cubicBezTo>
                      <a:cubicBezTo>
                        <a:pt x="44" y="689"/>
                        <a:pt x="44" y="689"/>
                        <a:pt x="44" y="689"/>
                      </a:cubicBezTo>
                      <a:cubicBezTo>
                        <a:pt x="51" y="689"/>
                        <a:pt x="57" y="683"/>
                        <a:pt x="57" y="676"/>
                      </a:cubicBezTo>
                      <a:cubicBezTo>
                        <a:pt x="57" y="676"/>
                        <a:pt x="57" y="676"/>
                        <a:pt x="57" y="676"/>
                      </a:cubicBezTo>
                      <a:cubicBezTo>
                        <a:pt x="57" y="29"/>
                        <a:pt x="57" y="29"/>
                        <a:pt x="57" y="29"/>
                      </a:cubicBezTo>
                      <a:cubicBezTo>
                        <a:pt x="57" y="22"/>
                        <a:pt x="51" y="16"/>
                        <a:pt x="44" y="16"/>
                      </a:cubicBezTo>
                      <a:cubicBezTo>
                        <a:pt x="44" y="16"/>
                        <a:pt x="44" y="16"/>
                        <a:pt x="44" y="16"/>
                      </a:cubicBezTo>
                      <a:cubicBezTo>
                        <a:pt x="44" y="16"/>
                        <a:pt x="30" y="16"/>
                        <a:pt x="8" y="16"/>
                      </a:cubicBezTo>
                      <a:cubicBezTo>
                        <a:pt x="8" y="16"/>
                        <a:pt x="8" y="16"/>
                        <a:pt x="8" y="16"/>
                      </a:cubicBezTo>
                      <a:cubicBezTo>
                        <a:pt x="4" y="16"/>
                        <a:pt x="0" y="12"/>
                        <a:pt x="0" y="8"/>
                      </a:cubicBezTo>
                      <a:cubicBezTo>
                        <a:pt x="0" y="8"/>
                        <a:pt x="0" y="8"/>
                        <a:pt x="0" y="8"/>
                      </a:cubicBezTo>
                      <a:cubicBezTo>
                        <a:pt x="0" y="3"/>
                        <a:pt x="4" y="0"/>
                        <a:pt x="8" y="0"/>
                      </a:cubicBezTo>
                      <a:cubicBezTo>
                        <a:pt x="8" y="0"/>
                        <a:pt x="8" y="0"/>
                        <a:pt x="8" y="0"/>
                      </a:cubicBezTo>
                      <a:cubicBezTo>
                        <a:pt x="30" y="0"/>
                        <a:pt x="44" y="0"/>
                        <a:pt x="44" y="0"/>
                      </a:cubicBezTo>
                      <a:cubicBezTo>
                        <a:pt x="44" y="0"/>
                        <a:pt x="44" y="0"/>
                        <a:pt x="44" y="0"/>
                      </a:cubicBezTo>
                      <a:cubicBezTo>
                        <a:pt x="60" y="0"/>
                        <a:pt x="73" y="13"/>
                        <a:pt x="73" y="29"/>
                      </a:cubicBezTo>
                      <a:cubicBezTo>
                        <a:pt x="73" y="29"/>
                        <a:pt x="73" y="29"/>
                        <a:pt x="73" y="29"/>
                      </a:cubicBezTo>
                      <a:cubicBezTo>
                        <a:pt x="73" y="676"/>
                        <a:pt x="73" y="676"/>
                        <a:pt x="73" y="676"/>
                      </a:cubicBezTo>
                      <a:cubicBezTo>
                        <a:pt x="73" y="692"/>
                        <a:pt x="60" y="705"/>
                        <a:pt x="44" y="705"/>
                      </a:cubicBezTo>
                      <a:cubicBezTo>
                        <a:pt x="44" y="705"/>
                        <a:pt x="44" y="705"/>
                        <a:pt x="44" y="705"/>
                      </a:cubicBezTo>
                      <a:cubicBezTo>
                        <a:pt x="44" y="705"/>
                        <a:pt x="30" y="705"/>
                        <a:pt x="8" y="705"/>
                      </a:cubicBezTo>
                      <a:cubicBezTo>
                        <a:pt x="8" y="705"/>
                        <a:pt x="8" y="705"/>
                        <a:pt x="8" y="705"/>
                      </a:cubicBezTo>
                      <a:cubicBezTo>
                        <a:pt x="4" y="705"/>
                        <a:pt x="0" y="701"/>
                        <a:pt x="0" y="69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 cmpd="sng" algn="ctr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58585A"/>
                    </a:solidFill>
                    <a:effectLst/>
                    <a:uLnTx/>
                    <a:uFillTx/>
                    <a:latin typeface="Arial" charset="0"/>
                    <a:cs typeface="Arial" charset="0"/>
                  </a:endParaRPr>
                </a:p>
              </p:txBody>
            </p:sp>
          </p:grpSp>
          <p:grpSp>
            <p:nvGrpSpPr>
              <p:cNvPr id="46" name="Group 45"/>
              <p:cNvGrpSpPr/>
              <p:nvPr/>
            </p:nvGrpSpPr>
            <p:grpSpPr>
              <a:xfrm>
                <a:off x="3664002" y="2921611"/>
                <a:ext cx="258583" cy="1433513"/>
                <a:chOff x="400050" y="2209800"/>
                <a:chExt cx="700088" cy="2644775"/>
              </a:xfrm>
              <a:solidFill>
                <a:srgbClr val="FFFFFF">
                  <a:lumMod val="95000"/>
                </a:srgbClr>
              </a:solidFill>
            </p:grpSpPr>
            <p:sp>
              <p:nvSpPr>
                <p:cNvPr id="50" name="Freeform 3"/>
                <p:cNvSpPr>
                  <a:spLocks noChangeAspect="1"/>
                </p:cNvSpPr>
                <p:nvPr/>
              </p:nvSpPr>
              <p:spPr bwMode="auto">
                <a:xfrm>
                  <a:off x="400050" y="2209800"/>
                  <a:ext cx="274638" cy="2644775"/>
                </a:xfrm>
                <a:custGeom>
                  <a:avLst/>
                  <a:gdLst>
                    <a:gd name="T0" fmla="*/ 2147483647 w 73"/>
                    <a:gd name="T1" fmla="*/ 2147483647 h 705"/>
                    <a:gd name="T2" fmla="*/ 2147483647 w 73"/>
                    <a:gd name="T3" fmla="*/ 2147483647 h 705"/>
                    <a:gd name="T4" fmla="*/ 2147483647 w 73"/>
                    <a:gd name="T5" fmla="*/ 2147483647 h 705"/>
                    <a:gd name="T6" fmla="*/ 0 w 73"/>
                    <a:gd name="T7" fmla="*/ 2147483647 h 705"/>
                    <a:gd name="T8" fmla="*/ 0 w 73"/>
                    <a:gd name="T9" fmla="*/ 2147483647 h 705"/>
                    <a:gd name="T10" fmla="*/ 0 w 73"/>
                    <a:gd name="T11" fmla="*/ 2147483647 h 705"/>
                    <a:gd name="T12" fmla="*/ 2147483647 w 73"/>
                    <a:gd name="T13" fmla="*/ 0 h 705"/>
                    <a:gd name="T14" fmla="*/ 2147483647 w 73"/>
                    <a:gd name="T15" fmla="*/ 0 h 705"/>
                    <a:gd name="T16" fmla="*/ 2147483647 w 73"/>
                    <a:gd name="T17" fmla="*/ 0 h 705"/>
                    <a:gd name="T18" fmla="*/ 2147483647 w 73"/>
                    <a:gd name="T19" fmla="*/ 0 h 705"/>
                    <a:gd name="T20" fmla="*/ 2147483647 w 73"/>
                    <a:gd name="T21" fmla="*/ 0 h 705"/>
                    <a:gd name="T22" fmla="*/ 2147483647 w 73"/>
                    <a:gd name="T23" fmla="*/ 2147483647 h 705"/>
                    <a:gd name="T24" fmla="*/ 2147483647 w 73"/>
                    <a:gd name="T25" fmla="*/ 2147483647 h 705"/>
                    <a:gd name="T26" fmla="*/ 2147483647 w 73"/>
                    <a:gd name="T27" fmla="*/ 2147483647 h 705"/>
                    <a:gd name="T28" fmla="*/ 2147483647 w 73"/>
                    <a:gd name="T29" fmla="*/ 2147483647 h 705"/>
                    <a:gd name="T30" fmla="*/ 2147483647 w 73"/>
                    <a:gd name="T31" fmla="*/ 2147483647 h 705"/>
                    <a:gd name="T32" fmla="*/ 2147483647 w 73"/>
                    <a:gd name="T33" fmla="*/ 2147483647 h 705"/>
                    <a:gd name="T34" fmla="*/ 2147483647 w 73"/>
                    <a:gd name="T35" fmla="*/ 2147483647 h 705"/>
                    <a:gd name="T36" fmla="*/ 2147483647 w 73"/>
                    <a:gd name="T37" fmla="*/ 2147483647 h 705"/>
                    <a:gd name="T38" fmla="*/ 2147483647 w 73"/>
                    <a:gd name="T39" fmla="*/ 2147483647 h 705"/>
                    <a:gd name="T40" fmla="*/ 2147483647 w 73"/>
                    <a:gd name="T41" fmla="*/ 2147483647 h 705"/>
                    <a:gd name="T42" fmla="*/ 2147483647 w 73"/>
                    <a:gd name="T43" fmla="*/ 2147483647 h 705"/>
                    <a:gd name="T44" fmla="*/ 2147483647 w 73"/>
                    <a:gd name="T45" fmla="*/ 2147483647 h 705"/>
                    <a:gd name="T46" fmla="*/ 2147483647 w 73"/>
                    <a:gd name="T47" fmla="*/ 2147483647 h 705"/>
                    <a:gd name="T48" fmla="*/ 2147483647 w 73"/>
                    <a:gd name="T49" fmla="*/ 2147483647 h 705"/>
                    <a:gd name="T50" fmla="*/ 2147483647 w 73"/>
                    <a:gd name="T51" fmla="*/ 2147483647 h 705"/>
                    <a:gd name="T52" fmla="*/ 2147483647 w 73"/>
                    <a:gd name="T53" fmla="*/ 2147483647 h 705"/>
                    <a:gd name="T54" fmla="*/ 2147483647 w 73"/>
                    <a:gd name="T55" fmla="*/ 2147483647 h 705"/>
                    <a:gd name="T56" fmla="*/ 2147483647 w 73"/>
                    <a:gd name="T57" fmla="*/ 2147483647 h 705"/>
                    <a:gd name="T58" fmla="*/ 2147483647 w 73"/>
                    <a:gd name="T59" fmla="*/ 2147483647 h 705"/>
                    <a:gd name="T60" fmla="*/ 2147483647 w 73"/>
                    <a:gd name="T61" fmla="*/ 2147483647 h 705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w 73"/>
                    <a:gd name="T94" fmla="*/ 0 h 705"/>
                    <a:gd name="T95" fmla="*/ 73 w 73"/>
                    <a:gd name="T96" fmla="*/ 705 h 705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T93" t="T94" r="T95" b="T96"/>
                  <a:pathLst>
                    <a:path w="73" h="705">
                      <a:moveTo>
                        <a:pt x="39" y="705"/>
                      </a:moveTo>
                      <a:cubicBezTo>
                        <a:pt x="33" y="705"/>
                        <a:pt x="29" y="705"/>
                        <a:pt x="29" y="705"/>
                      </a:cubicBezTo>
                      <a:cubicBezTo>
                        <a:pt x="29" y="705"/>
                        <a:pt x="29" y="705"/>
                        <a:pt x="29" y="705"/>
                      </a:cubicBezTo>
                      <a:cubicBezTo>
                        <a:pt x="13" y="705"/>
                        <a:pt x="0" y="692"/>
                        <a:pt x="0" y="676"/>
                      </a:cubicBezTo>
                      <a:cubicBezTo>
                        <a:pt x="0" y="676"/>
                        <a:pt x="0" y="676"/>
                        <a:pt x="0" y="676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29" y="0"/>
                        <a:pt x="29" y="0"/>
                        <a:pt x="29" y="0"/>
                      </a:cubicBezTo>
                      <a:cubicBezTo>
                        <a:pt x="29" y="0"/>
                        <a:pt x="43" y="0"/>
                        <a:pt x="6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9" y="0"/>
                        <a:pt x="73" y="3"/>
                        <a:pt x="73" y="8"/>
                      </a:cubicBezTo>
                      <a:cubicBezTo>
                        <a:pt x="73" y="8"/>
                        <a:pt x="73" y="8"/>
                        <a:pt x="73" y="8"/>
                      </a:cubicBezTo>
                      <a:cubicBezTo>
                        <a:pt x="73" y="12"/>
                        <a:pt x="69" y="16"/>
                        <a:pt x="65" y="16"/>
                      </a:cubicBezTo>
                      <a:cubicBezTo>
                        <a:pt x="65" y="16"/>
                        <a:pt x="65" y="16"/>
                        <a:pt x="65" y="16"/>
                      </a:cubicBezTo>
                      <a:cubicBezTo>
                        <a:pt x="54" y="16"/>
                        <a:pt x="45" y="16"/>
                        <a:pt x="39" y="16"/>
                      </a:cubicBezTo>
                      <a:cubicBezTo>
                        <a:pt x="39" y="16"/>
                        <a:pt x="39" y="16"/>
                        <a:pt x="39" y="16"/>
                      </a:cubicBezTo>
                      <a:cubicBezTo>
                        <a:pt x="33" y="16"/>
                        <a:pt x="29" y="16"/>
                        <a:pt x="29" y="16"/>
                      </a:cubicBezTo>
                      <a:cubicBezTo>
                        <a:pt x="29" y="16"/>
                        <a:pt x="29" y="16"/>
                        <a:pt x="29" y="16"/>
                      </a:cubicBezTo>
                      <a:cubicBezTo>
                        <a:pt x="22" y="16"/>
                        <a:pt x="16" y="22"/>
                        <a:pt x="16" y="29"/>
                      </a:cubicBezTo>
                      <a:cubicBezTo>
                        <a:pt x="16" y="29"/>
                        <a:pt x="16" y="29"/>
                        <a:pt x="16" y="29"/>
                      </a:cubicBezTo>
                      <a:cubicBezTo>
                        <a:pt x="16" y="676"/>
                        <a:pt x="16" y="676"/>
                        <a:pt x="16" y="676"/>
                      </a:cubicBezTo>
                      <a:cubicBezTo>
                        <a:pt x="16" y="683"/>
                        <a:pt x="22" y="689"/>
                        <a:pt x="29" y="689"/>
                      </a:cubicBezTo>
                      <a:cubicBezTo>
                        <a:pt x="29" y="689"/>
                        <a:pt x="29" y="689"/>
                        <a:pt x="29" y="689"/>
                      </a:cubicBezTo>
                      <a:cubicBezTo>
                        <a:pt x="29" y="689"/>
                        <a:pt x="43" y="689"/>
                        <a:pt x="65" y="689"/>
                      </a:cubicBezTo>
                      <a:cubicBezTo>
                        <a:pt x="65" y="689"/>
                        <a:pt x="65" y="689"/>
                        <a:pt x="65" y="689"/>
                      </a:cubicBezTo>
                      <a:cubicBezTo>
                        <a:pt x="69" y="689"/>
                        <a:pt x="73" y="693"/>
                        <a:pt x="73" y="697"/>
                      </a:cubicBezTo>
                      <a:cubicBezTo>
                        <a:pt x="73" y="697"/>
                        <a:pt x="73" y="697"/>
                        <a:pt x="73" y="697"/>
                      </a:cubicBezTo>
                      <a:cubicBezTo>
                        <a:pt x="73" y="701"/>
                        <a:pt x="69" y="705"/>
                        <a:pt x="65" y="705"/>
                      </a:cubicBezTo>
                      <a:cubicBezTo>
                        <a:pt x="65" y="705"/>
                        <a:pt x="65" y="705"/>
                        <a:pt x="65" y="705"/>
                      </a:cubicBezTo>
                      <a:cubicBezTo>
                        <a:pt x="54" y="705"/>
                        <a:pt x="45" y="705"/>
                        <a:pt x="39" y="70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 cmpd="sng" algn="ctr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58585A"/>
                    </a:solidFill>
                    <a:effectLst/>
                    <a:uLnTx/>
                    <a:uFillTx/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51" name="Freeform 13"/>
                <p:cNvSpPr>
                  <a:spLocks noChangeAspect="1"/>
                </p:cNvSpPr>
                <p:nvPr/>
              </p:nvSpPr>
              <p:spPr bwMode="auto">
                <a:xfrm>
                  <a:off x="825500" y="2209800"/>
                  <a:ext cx="274638" cy="2644775"/>
                </a:xfrm>
                <a:custGeom>
                  <a:avLst/>
                  <a:gdLst>
                    <a:gd name="T0" fmla="*/ 0 w 73"/>
                    <a:gd name="T1" fmla="*/ 2147483647 h 705"/>
                    <a:gd name="T2" fmla="*/ 2147483647 w 73"/>
                    <a:gd name="T3" fmla="*/ 2147483647 h 705"/>
                    <a:gd name="T4" fmla="*/ 2147483647 w 73"/>
                    <a:gd name="T5" fmla="*/ 2147483647 h 705"/>
                    <a:gd name="T6" fmla="*/ 2147483647 w 73"/>
                    <a:gd name="T7" fmla="*/ 2147483647 h 705"/>
                    <a:gd name="T8" fmla="*/ 2147483647 w 73"/>
                    <a:gd name="T9" fmla="*/ 2147483647 h 705"/>
                    <a:gd name="T10" fmla="*/ 2147483647 w 73"/>
                    <a:gd name="T11" fmla="*/ 2147483647 h 705"/>
                    <a:gd name="T12" fmla="*/ 2147483647 w 73"/>
                    <a:gd name="T13" fmla="*/ 2147483647 h 705"/>
                    <a:gd name="T14" fmla="*/ 2147483647 w 73"/>
                    <a:gd name="T15" fmla="*/ 2147483647 h 705"/>
                    <a:gd name="T16" fmla="*/ 2147483647 w 73"/>
                    <a:gd name="T17" fmla="*/ 2147483647 h 705"/>
                    <a:gd name="T18" fmla="*/ 2147483647 w 73"/>
                    <a:gd name="T19" fmla="*/ 2147483647 h 705"/>
                    <a:gd name="T20" fmla="*/ 2147483647 w 73"/>
                    <a:gd name="T21" fmla="*/ 2147483647 h 705"/>
                    <a:gd name="T22" fmla="*/ 2147483647 w 73"/>
                    <a:gd name="T23" fmla="*/ 2147483647 h 705"/>
                    <a:gd name="T24" fmla="*/ 0 w 73"/>
                    <a:gd name="T25" fmla="*/ 2147483647 h 705"/>
                    <a:gd name="T26" fmla="*/ 0 w 73"/>
                    <a:gd name="T27" fmla="*/ 2147483647 h 705"/>
                    <a:gd name="T28" fmla="*/ 2147483647 w 73"/>
                    <a:gd name="T29" fmla="*/ 0 h 705"/>
                    <a:gd name="T30" fmla="*/ 2147483647 w 73"/>
                    <a:gd name="T31" fmla="*/ 0 h 705"/>
                    <a:gd name="T32" fmla="*/ 2147483647 w 73"/>
                    <a:gd name="T33" fmla="*/ 0 h 705"/>
                    <a:gd name="T34" fmla="*/ 2147483647 w 73"/>
                    <a:gd name="T35" fmla="*/ 0 h 705"/>
                    <a:gd name="T36" fmla="*/ 2147483647 w 73"/>
                    <a:gd name="T37" fmla="*/ 2147483647 h 705"/>
                    <a:gd name="T38" fmla="*/ 2147483647 w 73"/>
                    <a:gd name="T39" fmla="*/ 2147483647 h 705"/>
                    <a:gd name="T40" fmla="*/ 2147483647 w 73"/>
                    <a:gd name="T41" fmla="*/ 2147483647 h 705"/>
                    <a:gd name="T42" fmla="*/ 2147483647 w 73"/>
                    <a:gd name="T43" fmla="*/ 2147483647 h 705"/>
                    <a:gd name="T44" fmla="*/ 2147483647 w 73"/>
                    <a:gd name="T45" fmla="*/ 2147483647 h 705"/>
                    <a:gd name="T46" fmla="*/ 2147483647 w 73"/>
                    <a:gd name="T47" fmla="*/ 2147483647 h 705"/>
                    <a:gd name="T48" fmla="*/ 2147483647 w 73"/>
                    <a:gd name="T49" fmla="*/ 2147483647 h 705"/>
                    <a:gd name="T50" fmla="*/ 0 w 73"/>
                    <a:gd name="T51" fmla="*/ 2147483647 h 705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73"/>
                    <a:gd name="T79" fmla="*/ 0 h 705"/>
                    <a:gd name="T80" fmla="*/ 73 w 73"/>
                    <a:gd name="T81" fmla="*/ 705 h 705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73" h="705">
                      <a:moveTo>
                        <a:pt x="0" y="697"/>
                      </a:moveTo>
                      <a:cubicBezTo>
                        <a:pt x="0" y="693"/>
                        <a:pt x="4" y="689"/>
                        <a:pt x="8" y="689"/>
                      </a:cubicBezTo>
                      <a:cubicBezTo>
                        <a:pt x="8" y="689"/>
                        <a:pt x="8" y="689"/>
                        <a:pt x="8" y="689"/>
                      </a:cubicBezTo>
                      <a:cubicBezTo>
                        <a:pt x="30" y="689"/>
                        <a:pt x="44" y="689"/>
                        <a:pt x="44" y="689"/>
                      </a:cubicBezTo>
                      <a:cubicBezTo>
                        <a:pt x="44" y="689"/>
                        <a:pt x="44" y="689"/>
                        <a:pt x="44" y="689"/>
                      </a:cubicBezTo>
                      <a:cubicBezTo>
                        <a:pt x="51" y="689"/>
                        <a:pt x="57" y="683"/>
                        <a:pt x="57" y="676"/>
                      </a:cubicBezTo>
                      <a:cubicBezTo>
                        <a:pt x="57" y="676"/>
                        <a:pt x="57" y="676"/>
                        <a:pt x="57" y="676"/>
                      </a:cubicBezTo>
                      <a:cubicBezTo>
                        <a:pt x="57" y="29"/>
                        <a:pt x="57" y="29"/>
                        <a:pt x="57" y="29"/>
                      </a:cubicBezTo>
                      <a:cubicBezTo>
                        <a:pt x="57" y="22"/>
                        <a:pt x="51" y="16"/>
                        <a:pt x="44" y="16"/>
                      </a:cubicBezTo>
                      <a:cubicBezTo>
                        <a:pt x="44" y="16"/>
                        <a:pt x="44" y="16"/>
                        <a:pt x="44" y="16"/>
                      </a:cubicBezTo>
                      <a:cubicBezTo>
                        <a:pt x="44" y="16"/>
                        <a:pt x="30" y="16"/>
                        <a:pt x="8" y="16"/>
                      </a:cubicBezTo>
                      <a:cubicBezTo>
                        <a:pt x="8" y="16"/>
                        <a:pt x="8" y="16"/>
                        <a:pt x="8" y="16"/>
                      </a:cubicBezTo>
                      <a:cubicBezTo>
                        <a:pt x="4" y="16"/>
                        <a:pt x="0" y="12"/>
                        <a:pt x="0" y="8"/>
                      </a:cubicBezTo>
                      <a:cubicBezTo>
                        <a:pt x="0" y="8"/>
                        <a:pt x="0" y="8"/>
                        <a:pt x="0" y="8"/>
                      </a:cubicBezTo>
                      <a:cubicBezTo>
                        <a:pt x="0" y="3"/>
                        <a:pt x="4" y="0"/>
                        <a:pt x="8" y="0"/>
                      </a:cubicBezTo>
                      <a:cubicBezTo>
                        <a:pt x="8" y="0"/>
                        <a:pt x="8" y="0"/>
                        <a:pt x="8" y="0"/>
                      </a:cubicBezTo>
                      <a:cubicBezTo>
                        <a:pt x="30" y="0"/>
                        <a:pt x="44" y="0"/>
                        <a:pt x="44" y="0"/>
                      </a:cubicBezTo>
                      <a:cubicBezTo>
                        <a:pt x="44" y="0"/>
                        <a:pt x="44" y="0"/>
                        <a:pt x="44" y="0"/>
                      </a:cubicBezTo>
                      <a:cubicBezTo>
                        <a:pt x="60" y="0"/>
                        <a:pt x="73" y="13"/>
                        <a:pt x="73" y="29"/>
                      </a:cubicBezTo>
                      <a:cubicBezTo>
                        <a:pt x="73" y="29"/>
                        <a:pt x="73" y="29"/>
                        <a:pt x="73" y="29"/>
                      </a:cubicBezTo>
                      <a:cubicBezTo>
                        <a:pt x="73" y="676"/>
                        <a:pt x="73" y="676"/>
                        <a:pt x="73" y="676"/>
                      </a:cubicBezTo>
                      <a:cubicBezTo>
                        <a:pt x="73" y="692"/>
                        <a:pt x="60" y="705"/>
                        <a:pt x="44" y="705"/>
                      </a:cubicBezTo>
                      <a:cubicBezTo>
                        <a:pt x="44" y="705"/>
                        <a:pt x="44" y="705"/>
                        <a:pt x="44" y="705"/>
                      </a:cubicBezTo>
                      <a:cubicBezTo>
                        <a:pt x="44" y="705"/>
                        <a:pt x="30" y="705"/>
                        <a:pt x="8" y="705"/>
                      </a:cubicBezTo>
                      <a:cubicBezTo>
                        <a:pt x="8" y="705"/>
                        <a:pt x="8" y="705"/>
                        <a:pt x="8" y="705"/>
                      </a:cubicBezTo>
                      <a:cubicBezTo>
                        <a:pt x="4" y="705"/>
                        <a:pt x="0" y="701"/>
                        <a:pt x="0" y="69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 cmpd="sng" algn="ctr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58585A"/>
                    </a:solidFill>
                    <a:effectLst/>
                    <a:uLnTx/>
                    <a:uFillTx/>
                    <a:latin typeface="Arial" charset="0"/>
                    <a:cs typeface="Arial" charset="0"/>
                  </a:endParaRPr>
                </a:p>
              </p:txBody>
            </p:sp>
          </p:grpSp>
          <p:grpSp>
            <p:nvGrpSpPr>
              <p:cNvPr id="47" name="Group 46"/>
              <p:cNvGrpSpPr/>
              <p:nvPr/>
            </p:nvGrpSpPr>
            <p:grpSpPr>
              <a:xfrm>
                <a:off x="3982114" y="2921611"/>
                <a:ext cx="258583" cy="1433513"/>
                <a:chOff x="400050" y="2209800"/>
                <a:chExt cx="700088" cy="2644775"/>
              </a:xfrm>
              <a:solidFill>
                <a:srgbClr val="FFFFFF">
                  <a:lumMod val="95000"/>
                </a:srgbClr>
              </a:solidFill>
            </p:grpSpPr>
            <p:sp>
              <p:nvSpPr>
                <p:cNvPr id="48" name="Freeform 3"/>
                <p:cNvSpPr>
                  <a:spLocks noChangeAspect="1"/>
                </p:cNvSpPr>
                <p:nvPr/>
              </p:nvSpPr>
              <p:spPr bwMode="auto">
                <a:xfrm>
                  <a:off x="400050" y="2209800"/>
                  <a:ext cx="274638" cy="2644775"/>
                </a:xfrm>
                <a:custGeom>
                  <a:avLst/>
                  <a:gdLst>
                    <a:gd name="T0" fmla="*/ 2147483647 w 73"/>
                    <a:gd name="T1" fmla="*/ 2147483647 h 705"/>
                    <a:gd name="T2" fmla="*/ 2147483647 w 73"/>
                    <a:gd name="T3" fmla="*/ 2147483647 h 705"/>
                    <a:gd name="T4" fmla="*/ 2147483647 w 73"/>
                    <a:gd name="T5" fmla="*/ 2147483647 h 705"/>
                    <a:gd name="T6" fmla="*/ 0 w 73"/>
                    <a:gd name="T7" fmla="*/ 2147483647 h 705"/>
                    <a:gd name="T8" fmla="*/ 0 w 73"/>
                    <a:gd name="T9" fmla="*/ 2147483647 h 705"/>
                    <a:gd name="T10" fmla="*/ 0 w 73"/>
                    <a:gd name="T11" fmla="*/ 2147483647 h 705"/>
                    <a:gd name="T12" fmla="*/ 2147483647 w 73"/>
                    <a:gd name="T13" fmla="*/ 0 h 705"/>
                    <a:gd name="T14" fmla="*/ 2147483647 w 73"/>
                    <a:gd name="T15" fmla="*/ 0 h 705"/>
                    <a:gd name="T16" fmla="*/ 2147483647 w 73"/>
                    <a:gd name="T17" fmla="*/ 0 h 705"/>
                    <a:gd name="T18" fmla="*/ 2147483647 w 73"/>
                    <a:gd name="T19" fmla="*/ 0 h 705"/>
                    <a:gd name="T20" fmla="*/ 2147483647 w 73"/>
                    <a:gd name="T21" fmla="*/ 0 h 705"/>
                    <a:gd name="T22" fmla="*/ 2147483647 w 73"/>
                    <a:gd name="T23" fmla="*/ 2147483647 h 705"/>
                    <a:gd name="T24" fmla="*/ 2147483647 w 73"/>
                    <a:gd name="T25" fmla="*/ 2147483647 h 705"/>
                    <a:gd name="T26" fmla="*/ 2147483647 w 73"/>
                    <a:gd name="T27" fmla="*/ 2147483647 h 705"/>
                    <a:gd name="T28" fmla="*/ 2147483647 w 73"/>
                    <a:gd name="T29" fmla="*/ 2147483647 h 705"/>
                    <a:gd name="T30" fmla="*/ 2147483647 w 73"/>
                    <a:gd name="T31" fmla="*/ 2147483647 h 705"/>
                    <a:gd name="T32" fmla="*/ 2147483647 w 73"/>
                    <a:gd name="T33" fmla="*/ 2147483647 h 705"/>
                    <a:gd name="T34" fmla="*/ 2147483647 w 73"/>
                    <a:gd name="T35" fmla="*/ 2147483647 h 705"/>
                    <a:gd name="T36" fmla="*/ 2147483647 w 73"/>
                    <a:gd name="T37" fmla="*/ 2147483647 h 705"/>
                    <a:gd name="T38" fmla="*/ 2147483647 w 73"/>
                    <a:gd name="T39" fmla="*/ 2147483647 h 705"/>
                    <a:gd name="T40" fmla="*/ 2147483647 w 73"/>
                    <a:gd name="T41" fmla="*/ 2147483647 h 705"/>
                    <a:gd name="T42" fmla="*/ 2147483647 w 73"/>
                    <a:gd name="T43" fmla="*/ 2147483647 h 705"/>
                    <a:gd name="T44" fmla="*/ 2147483647 w 73"/>
                    <a:gd name="T45" fmla="*/ 2147483647 h 705"/>
                    <a:gd name="T46" fmla="*/ 2147483647 w 73"/>
                    <a:gd name="T47" fmla="*/ 2147483647 h 705"/>
                    <a:gd name="T48" fmla="*/ 2147483647 w 73"/>
                    <a:gd name="T49" fmla="*/ 2147483647 h 705"/>
                    <a:gd name="T50" fmla="*/ 2147483647 w 73"/>
                    <a:gd name="T51" fmla="*/ 2147483647 h 705"/>
                    <a:gd name="T52" fmla="*/ 2147483647 w 73"/>
                    <a:gd name="T53" fmla="*/ 2147483647 h 705"/>
                    <a:gd name="T54" fmla="*/ 2147483647 w 73"/>
                    <a:gd name="T55" fmla="*/ 2147483647 h 705"/>
                    <a:gd name="T56" fmla="*/ 2147483647 w 73"/>
                    <a:gd name="T57" fmla="*/ 2147483647 h 705"/>
                    <a:gd name="T58" fmla="*/ 2147483647 w 73"/>
                    <a:gd name="T59" fmla="*/ 2147483647 h 705"/>
                    <a:gd name="T60" fmla="*/ 2147483647 w 73"/>
                    <a:gd name="T61" fmla="*/ 2147483647 h 705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w 73"/>
                    <a:gd name="T94" fmla="*/ 0 h 705"/>
                    <a:gd name="T95" fmla="*/ 73 w 73"/>
                    <a:gd name="T96" fmla="*/ 705 h 705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T93" t="T94" r="T95" b="T96"/>
                  <a:pathLst>
                    <a:path w="73" h="705">
                      <a:moveTo>
                        <a:pt x="39" y="705"/>
                      </a:moveTo>
                      <a:cubicBezTo>
                        <a:pt x="33" y="705"/>
                        <a:pt x="29" y="705"/>
                        <a:pt x="29" y="705"/>
                      </a:cubicBezTo>
                      <a:cubicBezTo>
                        <a:pt x="29" y="705"/>
                        <a:pt x="29" y="705"/>
                        <a:pt x="29" y="705"/>
                      </a:cubicBezTo>
                      <a:cubicBezTo>
                        <a:pt x="13" y="705"/>
                        <a:pt x="0" y="692"/>
                        <a:pt x="0" y="676"/>
                      </a:cubicBezTo>
                      <a:cubicBezTo>
                        <a:pt x="0" y="676"/>
                        <a:pt x="0" y="676"/>
                        <a:pt x="0" y="676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29" y="0"/>
                        <a:pt x="29" y="0"/>
                        <a:pt x="29" y="0"/>
                      </a:cubicBezTo>
                      <a:cubicBezTo>
                        <a:pt x="29" y="0"/>
                        <a:pt x="43" y="0"/>
                        <a:pt x="6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9" y="0"/>
                        <a:pt x="73" y="3"/>
                        <a:pt x="73" y="8"/>
                      </a:cubicBezTo>
                      <a:cubicBezTo>
                        <a:pt x="73" y="8"/>
                        <a:pt x="73" y="8"/>
                        <a:pt x="73" y="8"/>
                      </a:cubicBezTo>
                      <a:cubicBezTo>
                        <a:pt x="73" y="12"/>
                        <a:pt x="69" y="16"/>
                        <a:pt x="65" y="16"/>
                      </a:cubicBezTo>
                      <a:cubicBezTo>
                        <a:pt x="65" y="16"/>
                        <a:pt x="65" y="16"/>
                        <a:pt x="65" y="16"/>
                      </a:cubicBezTo>
                      <a:cubicBezTo>
                        <a:pt x="54" y="16"/>
                        <a:pt x="45" y="16"/>
                        <a:pt x="39" y="16"/>
                      </a:cubicBezTo>
                      <a:cubicBezTo>
                        <a:pt x="39" y="16"/>
                        <a:pt x="39" y="16"/>
                        <a:pt x="39" y="16"/>
                      </a:cubicBezTo>
                      <a:cubicBezTo>
                        <a:pt x="33" y="16"/>
                        <a:pt x="29" y="16"/>
                        <a:pt x="29" y="16"/>
                      </a:cubicBezTo>
                      <a:cubicBezTo>
                        <a:pt x="29" y="16"/>
                        <a:pt x="29" y="16"/>
                        <a:pt x="29" y="16"/>
                      </a:cubicBezTo>
                      <a:cubicBezTo>
                        <a:pt x="22" y="16"/>
                        <a:pt x="16" y="22"/>
                        <a:pt x="16" y="29"/>
                      </a:cubicBezTo>
                      <a:cubicBezTo>
                        <a:pt x="16" y="29"/>
                        <a:pt x="16" y="29"/>
                        <a:pt x="16" y="29"/>
                      </a:cubicBezTo>
                      <a:cubicBezTo>
                        <a:pt x="16" y="676"/>
                        <a:pt x="16" y="676"/>
                        <a:pt x="16" y="676"/>
                      </a:cubicBezTo>
                      <a:cubicBezTo>
                        <a:pt x="16" y="683"/>
                        <a:pt x="22" y="689"/>
                        <a:pt x="29" y="689"/>
                      </a:cubicBezTo>
                      <a:cubicBezTo>
                        <a:pt x="29" y="689"/>
                        <a:pt x="29" y="689"/>
                        <a:pt x="29" y="689"/>
                      </a:cubicBezTo>
                      <a:cubicBezTo>
                        <a:pt x="29" y="689"/>
                        <a:pt x="43" y="689"/>
                        <a:pt x="65" y="689"/>
                      </a:cubicBezTo>
                      <a:cubicBezTo>
                        <a:pt x="65" y="689"/>
                        <a:pt x="65" y="689"/>
                        <a:pt x="65" y="689"/>
                      </a:cubicBezTo>
                      <a:cubicBezTo>
                        <a:pt x="69" y="689"/>
                        <a:pt x="73" y="693"/>
                        <a:pt x="73" y="697"/>
                      </a:cubicBezTo>
                      <a:cubicBezTo>
                        <a:pt x="73" y="697"/>
                        <a:pt x="73" y="697"/>
                        <a:pt x="73" y="697"/>
                      </a:cubicBezTo>
                      <a:cubicBezTo>
                        <a:pt x="73" y="701"/>
                        <a:pt x="69" y="705"/>
                        <a:pt x="65" y="705"/>
                      </a:cubicBezTo>
                      <a:cubicBezTo>
                        <a:pt x="65" y="705"/>
                        <a:pt x="65" y="705"/>
                        <a:pt x="65" y="705"/>
                      </a:cubicBezTo>
                      <a:cubicBezTo>
                        <a:pt x="54" y="705"/>
                        <a:pt x="45" y="705"/>
                        <a:pt x="39" y="70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 cmpd="sng" algn="ctr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58585A"/>
                    </a:solidFill>
                    <a:effectLst/>
                    <a:uLnTx/>
                    <a:uFillTx/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49" name="Freeform 13"/>
                <p:cNvSpPr>
                  <a:spLocks noChangeAspect="1"/>
                </p:cNvSpPr>
                <p:nvPr/>
              </p:nvSpPr>
              <p:spPr bwMode="auto">
                <a:xfrm>
                  <a:off x="825500" y="2209800"/>
                  <a:ext cx="274638" cy="2644775"/>
                </a:xfrm>
                <a:custGeom>
                  <a:avLst/>
                  <a:gdLst>
                    <a:gd name="T0" fmla="*/ 0 w 73"/>
                    <a:gd name="T1" fmla="*/ 2147483647 h 705"/>
                    <a:gd name="T2" fmla="*/ 2147483647 w 73"/>
                    <a:gd name="T3" fmla="*/ 2147483647 h 705"/>
                    <a:gd name="T4" fmla="*/ 2147483647 w 73"/>
                    <a:gd name="T5" fmla="*/ 2147483647 h 705"/>
                    <a:gd name="T6" fmla="*/ 2147483647 w 73"/>
                    <a:gd name="T7" fmla="*/ 2147483647 h 705"/>
                    <a:gd name="T8" fmla="*/ 2147483647 w 73"/>
                    <a:gd name="T9" fmla="*/ 2147483647 h 705"/>
                    <a:gd name="T10" fmla="*/ 2147483647 w 73"/>
                    <a:gd name="T11" fmla="*/ 2147483647 h 705"/>
                    <a:gd name="T12" fmla="*/ 2147483647 w 73"/>
                    <a:gd name="T13" fmla="*/ 2147483647 h 705"/>
                    <a:gd name="T14" fmla="*/ 2147483647 w 73"/>
                    <a:gd name="T15" fmla="*/ 2147483647 h 705"/>
                    <a:gd name="T16" fmla="*/ 2147483647 w 73"/>
                    <a:gd name="T17" fmla="*/ 2147483647 h 705"/>
                    <a:gd name="T18" fmla="*/ 2147483647 w 73"/>
                    <a:gd name="T19" fmla="*/ 2147483647 h 705"/>
                    <a:gd name="T20" fmla="*/ 2147483647 w 73"/>
                    <a:gd name="T21" fmla="*/ 2147483647 h 705"/>
                    <a:gd name="T22" fmla="*/ 2147483647 w 73"/>
                    <a:gd name="T23" fmla="*/ 2147483647 h 705"/>
                    <a:gd name="T24" fmla="*/ 0 w 73"/>
                    <a:gd name="T25" fmla="*/ 2147483647 h 705"/>
                    <a:gd name="T26" fmla="*/ 0 w 73"/>
                    <a:gd name="T27" fmla="*/ 2147483647 h 705"/>
                    <a:gd name="T28" fmla="*/ 2147483647 w 73"/>
                    <a:gd name="T29" fmla="*/ 0 h 705"/>
                    <a:gd name="T30" fmla="*/ 2147483647 w 73"/>
                    <a:gd name="T31" fmla="*/ 0 h 705"/>
                    <a:gd name="T32" fmla="*/ 2147483647 w 73"/>
                    <a:gd name="T33" fmla="*/ 0 h 705"/>
                    <a:gd name="T34" fmla="*/ 2147483647 w 73"/>
                    <a:gd name="T35" fmla="*/ 0 h 705"/>
                    <a:gd name="T36" fmla="*/ 2147483647 w 73"/>
                    <a:gd name="T37" fmla="*/ 2147483647 h 705"/>
                    <a:gd name="T38" fmla="*/ 2147483647 w 73"/>
                    <a:gd name="T39" fmla="*/ 2147483647 h 705"/>
                    <a:gd name="T40" fmla="*/ 2147483647 w 73"/>
                    <a:gd name="T41" fmla="*/ 2147483647 h 705"/>
                    <a:gd name="T42" fmla="*/ 2147483647 w 73"/>
                    <a:gd name="T43" fmla="*/ 2147483647 h 705"/>
                    <a:gd name="T44" fmla="*/ 2147483647 w 73"/>
                    <a:gd name="T45" fmla="*/ 2147483647 h 705"/>
                    <a:gd name="T46" fmla="*/ 2147483647 w 73"/>
                    <a:gd name="T47" fmla="*/ 2147483647 h 705"/>
                    <a:gd name="T48" fmla="*/ 2147483647 w 73"/>
                    <a:gd name="T49" fmla="*/ 2147483647 h 705"/>
                    <a:gd name="T50" fmla="*/ 0 w 73"/>
                    <a:gd name="T51" fmla="*/ 2147483647 h 705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73"/>
                    <a:gd name="T79" fmla="*/ 0 h 705"/>
                    <a:gd name="T80" fmla="*/ 73 w 73"/>
                    <a:gd name="T81" fmla="*/ 705 h 705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73" h="705">
                      <a:moveTo>
                        <a:pt x="0" y="697"/>
                      </a:moveTo>
                      <a:cubicBezTo>
                        <a:pt x="0" y="693"/>
                        <a:pt x="4" y="689"/>
                        <a:pt x="8" y="689"/>
                      </a:cubicBezTo>
                      <a:cubicBezTo>
                        <a:pt x="8" y="689"/>
                        <a:pt x="8" y="689"/>
                        <a:pt x="8" y="689"/>
                      </a:cubicBezTo>
                      <a:cubicBezTo>
                        <a:pt x="30" y="689"/>
                        <a:pt x="44" y="689"/>
                        <a:pt x="44" y="689"/>
                      </a:cubicBezTo>
                      <a:cubicBezTo>
                        <a:pt x="44" y="689"/>
                        <a:pt x="44" y="689"/>
                        <a:pt x="44" y="689"/>
                      </a:cubicBezTo>
                      <a:cubicBezTo>
                        <a:pt x="51" y="689"/>
                        <a:pt x="57" y="683"/>
                        <a:pt x="57" y="676"/>
                      </a:cubicBezTo>
                      <a:cubicBezTo>
                        <a:pt x="57" y="676"/>
                        <a:pt x="57" y="676"/>
                        <a:pt x="57" y="676"/>
                      </a:cubicBezTo>
                      <a:cubicBezTo>
                        <a:pt x="57" y="29"/>
                        <a:pt x="57" y="29"/>
                        <a:pt x="57" y="29"/>
                      </a:cubicBezTo>
                      <a:cubicBezTo>
                        <a:pt x="57" y="22"/>
                        <a:pt x="51" y="16"/>
                        <a:pt x="44" y="16"/>
                      </a:cubicBezTo>
                      <a:cubicBezTo>
                        <a:pt x="44" y="16"/>
                        <a:pt x="44" y="16"/>
                        <a:pt x="44" y="16"/>
                      </a:cubicBezTo>
                      <a:cubicBezTo>
                        <a:pt x="44" y="16"/>
                        <a:pt x="30" y="16"/>
                        <a:pt x="8" y="16"/>
                      </a:cubicBezTo>
                      <a:cubicBezTo>
                        <a:pt x="8" y="16"/>
                        <a:pt x="8" y="16"/>
                        <a:pt x="8" y="16"/>
                      </a:cubicBezTo>
                      <a:cubicBezTo>
                        <a:pt x="4" y="16"/>
                        <a:pt x="0" y="12"/>
                        <a:pt x="0" y="8"/>
                      </a:cubicBezTo>
                      <a:cubicBezTo>
                        <a:pt x="0" y="8"/>
                        <a:pt x="0" y="8"/>
                        <a:pt x="0" y="8"/>
                      </a:cubicBezTo>
                      <a:cubicBezTo>
                        <a:pt x="0" y="3"/>
                        <a:pt x="4" y="0"/>
                        <a:pt x="8" y="0"/>
                      </a:cubicBezTo>
                      <a:cubicBezTo>
                        <a:pt x="8" y="0"/>
                        <a:pt x="8" y="0"/>
                        <a:pt x="8" y="0"/>
                      </a:cubicBezTo>
                      <a:cubicBezTo>
                        <a:pt x="30" y="0"/>
                        <a:pt x="44" y="0"/>
                        <a:pt x="44" y="0"/>
                      </a:cubicBezTo>
                      <a:cubicBezTo>
                        <a:pt x="44" y="0"/>
                        <a:pt x="44" y="0"/>
                        <a:pt x="44" y="0"/>
                      </a:cubicBezTo>
                      <a:cubicBezTo>
                        <a:pt x="60" y="0"/>
                        <a:pt x="73" y="13"/>
                        <a:pt x="73" y="29"/>
                      </a:cubicBezTo>
                      <a:cubicBezTo>
                        <a:pt x="73" y="29"/>
                        <a:pt x="73" y="29"/>
                        <a:pt x="73" y="29"/>
                      </a:cubicBezTo>
                      <a:cubicBezTo>
                        <a:pt x="73" y="676"/>
                        <a:pt x="73" y="676"/>
                        <a:pt x="73" y="676"/>
                      </a:cubicBezTo>
                      <a:cubicBezTo>
                        <a:pt x="73" y="692"/>
                        <a:pt x="60" y="705"/>
                        <a:pt x="44" y="705"/>
                      </a:cubicBezTo>
                      <a:cubicBezTo>
                        <a:pt x="44" y="705"/>
                        <a:pt x="44" y="705"/>
                        <a:pt x="44" y="705"/>
                      </a:cubicBezTo>
                      <a:cubicBezTo>
                        <a:pt x="44" y="705"/>
                        <a:pt x="30" y="705"/>
                        <a:pt x="8" y="705"/>
                      </a:cubicBezTo>
                      <a:cubicBezTo>
                        <a:pt x="8" y="705"/>
                        <a:pt x="8" y="705"/>
                        <a:pt x="8" y="705"/>
                      </a:cubicBezTo>
                      <a:cubicBezTo>
                        <a:pt x="4" y="705"/>
                        <a:pt x="0" y="701"/>
                        <a:pt x="0" y="69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 cmpd="sng" algn="ctr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58585A"/>
                    </a:solidFill>
                    <a:effectLst/>
                    <a:uLnTx/>
                    <a:uFillTx/>
                    <a:latin typeface="Arial" charset="0"/>
                    <a:cs typeface="Arial" charset="0"/>
                  </a:endParaRPr>
                </a:p>
              </p:txBody>
            </p:sp>
          </p:grpSp>
        </p:grpSp>
        <p:grpSp>
          <p:nvGrpSpPr>
            <p:cNvPr id="39" name="Group 3"/>
            <p:cNvGrpSpPr>
              <a:grpSpLocks/>
            </p:cNvGrpSpPr>
            <p:nvPr/>
          </p:nvGrpSpPr>
          <p:grpSpPr bwMode="auto">
            <a:xfrm>
              <a:off x="2321750" y="3793343"/>
              <a:ext cx="1523116" cy="1095260"/>
              <a:chOff x="3165474" y="3123350"/>
              <a:chExt cx="1514223" cy="1089499"/>
            </a:xfrm>
          </p:grpSpPr>
          <p:sp>
            <p:nvSpPr>
              <p:cNvPr id="42" name="Freeform 8"/>
              <p:cNvSpPr>
                <a:spLocks noChangeAspect="1"/>
              </p:cNvSpPr>
              <p:nvPr/>
            </p:nvSpPr>
            <p:spPr bwMode="auto">
              <a:xfrm>
                <a:off x="3165474" y="3982077"/>
                <a:ext cx="1514223" cy="231519"/>
              </a:xfrm>
              <a:custGeom>
                <a:avLst/>
                <a:gdLst>
                  <a:gd name="T0" fmla="*/ 2147483647 w 532"/>
                  <a:gd name="T1" fmla="*/ 2147483647 h 105"/>
                  <a:gd name="T2" fmla="*/ 2147483647 w 532"/>
                  <a:gd name="T3" fmla="*/ 2147483647 h 105"/>
                  <a:gd name="T4" fmla="*/ 2147483647 w 532"/>
                  <a:gd name="T5" fmla="*/ 0 h 105"/>
                  <a:gd name="T6" fmla="*/ 2147483647 w 532"/>
                  <a:gd name="T7" fmla="*/ 0 h 105"/>
                  <a:gd name="T8" fmla="*/ 0 w 532"/>
                  <a:gd name="T9" fmla="*/ 2147483647 h 105"/>
                  <a:gd name="T10" fmla="*/ 0 w 532"/>
                  <a:gd name="T11" fmla="*/ 2147483647 h 105"/>
                  <a:gd name="T12" fmla="*/ 2147483647 w 532"/>
                  <a:gd name="T13" fmla="*/ 2147483647 h 105"/>
                  <a:gd name="T14" fmla="*/ 2147483647 w 532"/>
                  <a:gd name="T15" fmla="*/ 2147483647 h 105"/>
                  <a:gd name="T16" fmla="*/ 2147483647 w 532"/>
                  <a:gd name="T17" fmla="*/ 2147483647 h 105"/>
                  <a:gd name="T18" fmla="*/ 2147483647 w 532"/>
                  <a:gd name="T19" fmla="*/ 2147483647 h 105"/>
                  <a:gd name="T20" fmla="*/ 2147483647 w 532"/>
                  <a:gd name="T21" fmla="*/ 2147483647 h 10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532"/>
                  <a:gd name="T34" fmla="*/ 0 h 105"/>
                  <a:gd name="T35" fmla="*/ 532 w 532"/>
                  <a:gd name="T36" fmla="*/ 105 h 105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532" h="105">
                    <a:moveTo>
                      <a:pt x="527" y="47"/>
                    </a:moveTo>
                    <a:cubicBezTo>
                      <a:pt x="484" y="5"/>
                      <a:pt x="484" y="5"/>
                      <a:pt x="484" y="5"/>
                    </a:cubicBezTo>
                    <a:cubicBezTo>
                      <a:pt x="484" y="5"/>
                      <a:pt x="480" y="0"/>
                      <a:pt x="471" y="0"/>
                    </a:cubicBezTo>
                    <a:cubicBezTo>
                      <a:pt x="468" y="0"/>
                      <a:pt x="21" y="0"/>
                      <a:pt x="21" y="0"/>
                    </a:cubicBezTo>
                    <a:cubicBezTo>
                      <a:pt x="9" y="0"/>
                      <a:pt x="0" y="9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0" y="96"/>
                      <a:pt x="9" y="105"/>
                      <a:pt x="21" y="105"/>
                    </a:cubicBezTo>
                    <a:cubicBezTo>
                      <a:pt x="21" y="105"/>
                      <a:pt x="468" y="105"/>
                      <a:pt x="471" y="105"/>
                    </a:cubicBezTo>
                    <a:cubicBezTo>
                      <a:pt x="479" y="105"/>
                      <a:pt x="484" y="100"/>
                      <a:pt x="484" y="100"/>
                    </a:cubicBezTo>
                    <a:cubicBezTo>
                      <a:pt x="484" y="100"/>
                      <a:pt x="521" y="64"/>
                      <a:pt x="527" y="58"/>
                    </a:cubicBezTo>
                    <a:cubicBezTo>
                      <a:pt x="532" y="52"/>
                      <a:pt x="527" y="47"/>
                      <a:pt x="527" y="47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58585A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sp>
            <p:nvSpPr>
              <p:cNvPr id="43" name="Freeform 8"/>
              <p:cNvSpPr>
                <a:spLocks noChangeAspect="1"/>
              </p:cNvSpPr>
              <p:nvPr/>
            </p:nvSpPr>
            <p:spPr bwMode="auto">
              <a:xfrm>
                <a:off x="3165474" y="3122604"/>
                <a:ext cx="1514223" cy="231519"/>
              </a:xfrm>
              <a:custGeom>
                <a:avLst/>
                <a:gdLst>
                  <a:gd name="T0" fmla="*/ 2147483647 w 532"/>
                  <a:gd name="T1" fmla="*/ 2147483647 h 105"/>
                  <a:gd name="T2" fmla="*/ 2147483647 w 532"/>
                  <a:gd name="T3" fmla="*/ 2147483647 h 105"/>
                  <a:gd name="T4" fmla="*/ 2147483647 w 532"/>
                  <a:gd name="T5" fmla="*/ 0 h 105"/>
                  <a:gd name="T6" fmla="*/ 2147483647 w 532"/>
                  <a:gd name="T7" fmla="*/ 0 h 105"/>
                  <a:gd name="T8" fmla="*/ 0 w 532"/>
                  <a:gd name="T9" fmla="*/ 2147483647 h 105"/>
                  <a:gd name="T10" fmla="*/ 0 w 532"/>
                  <a:gd name="T11" fmla="*/ 2147483647 h 105"/>
                  <a:gd name="T12" fmla="*/ 2147483647 w 532"/>
                  <a:gd name="T13" fmla="*/ 2147483647 h 105"/>
                  <a:gd name="T14" fmla="*/ 2147483647 w 532"/>
                  <a:gd name="T15" fmla="*/ 2147483647 h 105"/>
                  <a:gd name="T16" fmla="*/ 2147483647 w 532"/>
                  <a:gd name="T17" fmla="*/ 2147483647 h 105"/>
                  <a:gd name="T18" fmla="*/ 2147483647 w 532"/>
                  <a:gd name="T19" fmla="*/ 2147483647 h 105"/>
                  <a:gd name="T20" fmla="*/ 2147483647 w 532"/>
                  <a:gd name="T21" fmla="*/ 2147483647 h 10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532"/>
                  <a:gd name="T34" fmla="*/ 0 h 105"/>
                  <a:gd name="T35" fmla="*/ 532 w 532"/>
                  <a:gd name="T36" fmla="*/ 105 h 105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532" h="105">
                    <a:moveTo>
                      <a:pt x="527" y="47"/>
                    </a:moveTo>
                    <a:cubicBezTo>
                      <a:pt x="484" y="5"/>
                      <a:pt x="484" y="5"/>
                      <a:pt x="484" y="5"/>
                    </a:cubicBezTo>
                    <a:cubicBezTo>
                      <a:pt x="484" y="5"/>
                      <a:pt x="480" y="0"/>
                      <a:pt x="471" y="0"/>
                    </a:cubicBezTo>
                    <a:cubicBezTo>
                      <a:pt x="468" y="0"/>
                      <a:pt x="21" y="0"/>
                      <a:pt x="21" y="0"/>
                    </a:cubicBezTo>
                    <a:cubicBezTo>
                      <a:pt x="9" y="0"/>
                      <a:pt x="0" y="9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0" y="96"/>
                      <a:pt x="9" y="105"/>
                      <a:pt x="21" y="105"/>
                    </a:cubicBezTo>
                    <a:cubicBezTo>
                      <a:pt x="21" y="105"/>
                      <a:pt x="468" y="105"/>
                      <a:pt x="471" y="105"/>
                    </a:cubicBezTo>
                    <a:cubicBezTo>
                      <a:pt x="479" y="105"/>
                      <a:pt x="484" y="100"/>
                      <a:pt x="484" y="100"/>
                    </a:cubicBezTo>
                    <a:cubicBezTo>
                      <a:pt x="484" y="100"/>
                      <a:pt x="521" y="64"/>
                      <a:pt x="527" y="58"/>
                    </a:cubicBezTo>
                    <a:cubicBezTo>
                      <a:pt x="532" y="52"/>
                      <a:pt x="527" y="47"/>
                      <a:pt x="527" y="47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58585A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sp>
            <p:nvSpPr>
              <p:cNvPr id="44" name="Freeform 8"/>
              <p:cNvSpPr>
                <a:spLocks noChangeAspect="1"/>
              </p:cNvSpPr>
              <p:nvPr/>
            </p:nvSpPr>
            <p:spPr bwMode="auto">
              <a:xfrm>
                <a:off x="3165474" y="3552340"/>
                <a:ext cx="1514223" cy="231519"/>
              </a:xfrm>
              <a:custGeom>
                <a:avLst/>
                <a:gdLst>
                  <a:gd name="T0" fmla="*/ 2147483647 w 532"/>
                  <a:gd name="T1" fmla="*/ 2147483647 h 105"/>
                  <a:gd name="T2" fmla="*/ 2147483647 w 532"/>
                  <a:gd name="T3" fmla="*/ 2147483647 h 105"/>
                  <a:gd name="T4" fmla="*/ 2147483647 w 532"/>
                  <a:gd name="T5" fmla="*/ 0 h 105"/>
                  <a:gd name="T6" fmla="*/ 2147483647 w 532"/>
                  <a:gd name="T7" fmla="*/ 0 h 105"/>
                  <a:gd name="T8" fmla="*/ 0 w 532"/>
                  <a:gd name="T9" fmla="*/ 2147483647 h 105"/>
                  <a:gd name="T10" fmla="*/ 0 w 532"/>
                  <a:gd name="T11" fmla="*/ 2147483647 h 105"/>
                  <a:gd name="T12" fmla="*/ 2147483647 w 532"/>
                  <a:gd name="T13" fmla="*/ 2147483647 h 105"/>
                  <a:gd name="T14" fmla="*/ 2147483647 w 532"/>
                  <a:gd name="T15" fmla="*/ 2147483647 h 105"/>
                  <a:gd name="T16" fmla="*/ 2147483647 w 532"/>
                  <a:gd name="T17" fmla="*/ 2147483647 h 105"/>
                  <a:gd name="T18" fmla="*/ 2147483647 w 532"/>
                  <a:gd name="T19" fmla="*/ 2147483647 h 105"/>
                  <a:gd name="T20" fmla="*/ 2147483647 w 532"/>
                  <a:gd name="T21" fmla="*/ 2147483647 h 10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532"/>
                  <a:gd name="T34" fmla="*/ 0 h 105"/>
                  <a:gd name="T35" fmla="*/ 532 w 532"/>
                  <a:gd name="T36" fmla="*/ 105 h 105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532" h="105">
                    <a:moveTo>
                      <a:pt x="527" y="47"/>
                    </a:moveTo>
                    <a:cubicBezTo>
                      <a:pt x="484" y="5"/>
                      <a:pt x="484" y="5"/>
                      <a:pt x="484" y="5"/>
                    </a:cubicBezTo>
                    <a:cubicBezTo>
                      <a:pt x="484" y="5"/>
                      <a:pt x="480" y="0"/>
                      <a:pt x="471" y="0"/>
                    </a:cubicBezTo>
                    <a:cubicBezTo>
                      <a:pt x="468" y="0"/>
                      <a:pt x="21" y="0"/>
                      <a:pt x="21" y="0"/>
                    </a:cubicBezTo>
                    <a:cubicBezTo>
                      <a:pt x="9" y="0"/>
                      <a:pt x="0" y="9"/>
                      <a:pt x="0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0" y="96"/>
                      <a:pt x="9" y="105"/>
                      <a:pt x="21" y="105"/>
                    </a:cubicBezTo>
                    <a:cubicBezTo>
                      <a:pt x="21" y="105"/>
                      <a:pt x="468" y="105"/>
                      <a:pt x="471" y="105"/>
                    </a:cubicBezTo>
                    <a:cubicBezTo>
                      <a:pt x="479" y="105"/>
                      <a:pt x="484" y="100"/>
                      <a:pt x="484" y="100"/>
                    </a:cubicBezTo>
                    <a:cubicBezTo>
                      <a:pt x="484" y="100"/>
                      <a:pt x="521" y="64"/>
                      <a:pt x="527" y="58"/>
                    </a:cubicBezTo>
                    <a:cubicBezTo>
                      <a:pt x="532" y="52"/>
                      <a:pt x="527" y="47"/>
                      <a:pt x="527" y="47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58585A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</p:grpSp>
        <p:sp>
          <p:nvSpPr>
            <p:cNvPr id="40" name="Freeform 2"/>
            <p:cNvSpPr>
              <a:spLocks noChangeAspect="1" noEditPoints="1"/>
            </p:cNvSpPr>
            <p:nvPr/>
          </p:nvSpPr>
          <p:spPr bwMode="auto">
            <a:xfrm>
              <a:off x="4746921" y="4060407"/>
              <a:ext cx="357629" cy="561134"/>
            </a:xfrm>
            <a:custGeom>
              <a:avLst/>
              <a:gdLst>
                <a:gd name="T0" fmla="*/ 2147483647 w 208"/>
                <a:gd name="T1" fmla="*/ 2147483647 h 325"/>
                <a:gd name="T2" fmla="*/ 2147483647 w 208"/>
                <a:gd name="T3" fmla="*/ 2147483647 h 325"/>
                <a:gd name="T4" fmla="*/ 2147483647 w 208"/>
                <a:gd name="T5" fmla="*/ 2147483647 h 325"/>
                <a:gd name="T6" fmla="*/ 2147483647 w 208"/>
                <a:gd name="T7" fmla="*/ 2147483647 h 325"/>
                <a:gd name="T8" fmla="*/ 2147483647 w 208"/>
                <a:gd name="T9" fmla="*/ 2147483647 h 325"/>
                <a:gd name="T10" fmla="*/ 2147483647 w 208"/>
                <a:gd name="T11" fmla="*/ 2147483647 h 325"/>
                <a:gd name="T12" fmla="*/ 2147483647 w 208"/>
                <a:gd name="T13" fmla="*/ 2147483647 h 325"/>
                <a:gd name="T14" fmla="*/ 2147483647 w 208"/>
                <a:gd name="T15" fmla="*/ 2147483647 h 325"/>
                <a:gd name="T16" fmla="*/ 2147483647 w 208"/>
                <a:gd name="T17" fmla="*/ 2147483647 h 325"/>
                <a:gd name="T18" fmla="*/ 2147483647 w 208"/>
                <a:gd name="T19" fmla="*/ 2147483647 h 325"/>
                <a:gd name="T20" fmla="*/ 2147483647 w 208"/>
                <a:gd name="T21" fmla="*/ 2147483647 h 325"/>
                <a:gd name="T22" fmla="*/ 2147483647 w 208"/>
                <a:gd name="T23" fmla="*/ 2147483647 h 325"/>
                <a:gd name="T24" fmla="*/ 2147483647 w 208"/>
                <a:gd name="T25" fmla="*/ 0 h 325"/>
                <a:gd name="T26" fmla="*/ 2147483647 w 208"/>
                <a:gd name="T27" fmla="*/ 2147483647 h 325"/>
                <a:gd name="T28" fmla="*/ 2147483647 w 208"/>
                <a:gd name="T29" fmla="*/ 2147483647 h 325"/>
                <a:gd name="T30" fmla="*/ 0 w 208"/>
                <a:gd name="T31" fmla="*/ 2147483647 h 325"/>
                <a:gd name="T32" fmla="*/ 0 w 208"/>
                <a:gd name="T33" fmla="*/ 2147483647 h 325"/>
                <a:gd name="T34" fmla="*/ 2147483647 w 208"/>
                <a:gd name="T35" fmla="*/ 2147483647 h 325"/>
                <a:gd name="T36" fmla="*/ 2147483647 w 208"/>
                <a:gd name="T37" fmla="*/ 2147483647 h 325"/>
                <a:gd name="T38" fmla="*/ 2147483647 w 208"/>
                <a:gd name="T39" fmla="*/ 2147483647 h 325"/>
                <a:gd name="T40" fmla="*/ 2147483647 w 208"/>
                <a:gd name="T41" fmla="*/ 2147483647 h 325"/>
                <a:gd name="T42" fmla="*/ 2147483647 w 208"/>
                <a:gd name="T43" fmla="*/ 2147483647 h 325"/>
                <a:gd name="T44" fmla="*/ 2147483647 w 208"/>
                <a:gd name="T45" fmla="*/ 2147483647 h 325"/>
                <a:gd name="T46" fmla="*/ 2147483647 w 208"/>
                <a:gd name="T47" fmla="*/ 2147483647 h 325"/>
                <a:gd name="T48" fmla="*/ 2147483647 w 208"/>
                <a:gd name="T49" fmla="*/ 2147483647 h 325"/>
                <a:gd name="T50" fmla="*/ 2147483647 w 208"/>
                <a:gd name="T51" fmla="*/ 2147483647 h 325"/>
                <a:gd name="T52" fmla="*/ 2147483647 w 208"/>
                <a:gd name="T53" fmla="*/ 2147483647 h 325"/>
                <a:gd name="T54" fmla="*/ 2147483647 w 208"/>
                <a:gd name="T55" fmla="*/ 2147483647 h 325"/>
                <a:gd name="T56" fmla="*/ 2147483647 w 208"/>
                <a:gd name="T57" fmla="*/ 2147483647 h 325"/>
                <a:gd name="T58" fmla="*/ 2147483647 w 208"/>
                <a:gd name="T59" fmla="*/ 2147483647 h 325"/>
                <a:gd name="T60" fmla="*/ 2147483647 w 208"/>
                <a:gd name="T61" fmla="*/ 2147483647 h 325"/>
                <a:gd name="T62" fmla="*/ 2147483647 w 208"/>
                <a:gd name="T63" fmla="*/ 2147483647 h 325"/>
                <a:gd name="T64" fmla="*/ 2147483647 w 208"/>
                <a:gd name="T65" fmla="*/ 2147483647 h 325"/>
                <a:gd name="T66" fmla="*/ 2147483647 w 208"/>
                <a:gd name="T67" fmla="*/ 2147483647 h 325"/>
                <a:gd name="T68" fmla="*/ 2147483647 w 208"/>
                <a:gd name="T69" fmla="*/ 2147483647 h 325"/>
                <a:gd name="T70" fmla="*/ 2147483647 w 208"/>
                <a:gd name="T71" fmla="*/ 2147483647 h 325"/>
                <a:gd name="T72" fmla="*/ 2147483647 w 208"/>
                <a:gd name="T73" fmla="*/ 2147483647 h 325"/>
                <a:gd name="T74" fmla="*/ 2147483647 w 208"/>
                <a:gd name="T75" fmla="*/ 2147483647 h 325"/>
                <a:gd name="T76" fmla="*/ 2147483647 w 208"/>
                <a:gd name="T77" fmla="*/ 2147483647 h 325"/>
                <a:gd name="T78" fmla="*/ 2147483647 w 208"/>
                <a:gd name="T79" fmla="*/ 2147483647 h 325"/>
                <a:gd name="T80" fmla="*/ 2147483647 w 208"/>
                <a:gd name="T81" fmla="*/ 2147483647 h 325"/>
                <a:gd name="T82" fmla="*/ 2147483647 w 208"/>
                <a:gd name="T83" fmla="*/ 2147483647 h 325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208" h="325">
                  <a:moveTo>
                    <a:pt x="162" y="146"/>
                  </a:moveTo>
                  <a:cubicBezTo>
                    <a:pt x="179" y="131"/>
                    <a:pt x="189" y="109"/>
                    <a:pt x="189" y="85"/>
                  </a:cubicBezTo>
                  <a:cubicBezTo>
                    <a:pt x="189" y="68"/>
                    <a:pt x="184" y="52"/>
                    <a:pt x="175" y="39"/>
                  </a:cubicBezTo>
                  <a:cubicBezTo>
                    <a:pt x="173" y="35"/>
                    <a:pt x="168" y="34"/>
                    <a:pt x="164" y="36"/>
                  </a:cubicBezTo>
                  <a:cubicBezTo>
                    <a:pt x="160" y="39"/>
                    <a:pt x="159" y="44"/>
                    <a:pt x="162" y="47"/>
                  </a:cubicBezTo>
                  <a:cubicBezTo>
                    <a:pt x="169" y="58"/>
                    <a:pt x="173" y="71"/>
                    <a:pt x="173" y="85"/>
                  </a:cubicBezTo>
                  <a:cubicBezTo>
                    <a:pt x="173" y="123"/>
                    <a:pt x="142" y="154"/>
                    <a:pt x="104" y="154"/>
                  </a:cubicBezTo>
                  <a:cubicBezTo>
                    <a:pt x="66" y="154"/>
                    <a:pt x="35" y="123"/>
                    <a:pt x="35" y="85"/>
                  </a:cubicBezTo>
                  <a:cubicBezTo>
                    <a:pt x="35" y="47"/>
                    <a:pt x="66" y="16"/>
                    <a:pt x="104" y="16"/>
                  </a:cubicBezTo>
                  <a:cubicBezTo>
                    <a:pt x="118" y="16"/>
                    <a:pt x="131" y="20"/>
                    <a:pt x="142" y="27"/>
                  </a:cubicBezTo>
                  <a:cubicBezTo>
                    <a:pt x="145" y="30"/>
                    <a:pt x="150" y="29"/>
                    <a:pt x="153" y="25"/>
                  </a:cubicBezTo>
                  <a:cubicBezTo>
                    <a:pt x="155" y="21"/>
                    <a:pt x="154" y="16"/>
                    <a:pt x="150" y="14"/>
                  </a:cubicBezTo>
                  <a:cubicBezTo>
                    <a:pt x="137" y="5"/>
                    <a:pt x="121" y="0"/>
                    <a:pt x="104" y="0"/>
                  </a:cubicBezTo>
                  <a:cubicBezTo>
                    <a:pt x="57" y="0"/>
                    <a:pt x="19" y="38"/>
                    <a:pt x="19" y="85"/>
                  </a:cubicBezTo>
                  <a:cubicBezTo>
                    <a:pt x="19" y="109"/>
                    <a:pt x="30" y="131"/>
                    <a:pt x="46" y="146"/>
                  </a:cubicBezTo>
                  <a:cubicBezTo>
                    <a:pt x="25" y="159"/>
                    <a:pt x="0" y="181"/>
                    <a:pt x="0" y="220"/>
                  </a:cubicBezTo>
                  <a:cubicBezTo>
                    <a:pt x="0" y="304"/>
                    <a:pt x="0" y="304"/>
                    <a:pt x="0" y="304"/>
                  </a:cubicBezTo>
                  <a:cubicBezTo>
                    <a:pt x="0" y="313"/>
                    <a:pt x="6" y="325"/>
                    <a:pt x="21" y="325"/>
                  </a:cubicBezTo>
                  <a:cubicBezTo>
                    <a:pt x="187" y="325"/>
                    <a:pt x="187" y="325"/>
                    <a:pt x="187" y="325"/>
                  </a:cubicBezTo>
                  <a:cubicBezTo>
                    <a:pt x="196" y="325"/>
                    <a:pt x="208" y="320"/>
                    <a:pt x="208" y="304"/>
                  </a:cubicBezTo>
                  <a:cubicBezTo>
                    <a:pt x="208" y="220"/>
                    <a:pt x="208" y="220"/>
                    <a:pt x="208" y="220"/>
                  </a:cubicBezTo>
                  <a:cubicBezTo>
                    <a:pt x="208" y="181"/>
                    <a:pt x="183" y="159"/>
                    <a:pt x="162" y="146"/>
                  </a:cubicBezTo>
                  <a:close/>
                  <a:moveTo>
                    <a:pt x="192" y="304"/>
                  </a:moveTo>
                  <a:cubicBezTo>
                    <a:pt x="192" y="306"/>
                    <a:pt x="192" y="309"/>
                    <a:pt x="187" y="309"/>
                  </a:cubicBezTo>
                  <a:cubicBezTo>
                    <a:pt x="174" y="309"/>
                    <a:pt x="174" y="309"/>
                    <a:pt x="174" y="309"/>
                  </a:cubicBezTo>
                  <a:cubicBezTo>
                    <a:pt x="174" y="212"/>
                    <a:pt x="174" y="212"/>
                    <a:pt x="174" y="212"/>
                  </a:cubicBezTo>
                  <a:cubicBezTo>
                    <a:pt x="174" y="208"/>
                    <a:pt x="170" y="204"/>
                    <a:pt x="166" y="204"/>
                  </a:cubicBezTo>
                  <a:cubicBezTo>
                    <a:pt x="161" y="204"/>
                    <a:pt x="158" y="208"/>
                    <a:pt x="158" y="212"/>
                  </a:cubicBezTo>
                  <a:cubicBezTo>
                    <a:pt x="158" y="309"/>
                    <a:pt x="158" y="309"/>
                    <a:pt x="158" y="309"/>
                  </a:cubicBezTo>
                  <a:cubicBezTo>
                    <a:pt x="51" y="309"/>
                    <a:pt x="51" y="309"/>
                    <a:pt x="51" y="309"/>
                  </a:cubicBezTo>
                  <a:cubicBezTo>
                    <a:pt x="51" y="212"/>
                    <a:pt x="51" y="212"/>
                    <a:pt x="51" y="212"/>
                  </a:cubicBezTo>
                  <a:cubicBezTo>
                    <a:pt x="51" y="208"/>
                    <a:pt x="47" y="204"/>
                    <a:pt x="43" y="204"/>
                  </a:cubicBezTo>
                  <a:cubicBezTo>
                    <a:pt x="38" y="204"/>
                    <a:pt x="35" y="208"/>
                    <a:pt x="35" y="212"/>
                  </a:cubicBezTo>
                  <a:cubicBezTo>
                    <a:pt x="35" y="309"/>
                    <a:pt x="35" y="309"/>
                    <a:pt x="35" y="309"/>
                  </a:cubicBezTo>
                  <a:cubicBezTo>
                    <a:pt x="21" y="309"/>
                    <a:pt x="21" y="309"/>
                    <a:pt x="21" y="309"/>
                  </a:cubicBezTo>
                  <a:cubicBezTo>
                    <a:pt x="20" y="309"/>
                    <a:pt x="16" y="309"/>
                    <a:pt x="16" y="304"/>
                  </a:cubicBezTo>
                  <a:cubicBezTo>
                    <a:pt x="16" y="220"/>
                    <a:pt x="16" y="220"/>
                    <a:pt x="16" y="220"/>
                  </a:cubicBezTo>
                  <a:cubicBezTo>
                    <a:pt x="16" y="186"/>
                    <a:pt x="42" y="166"/>
                    <a:pt x="60" y="157"/>
                  </a:cubicBezTo>
                  <a:cubicBezTo>
                    <a:pt x="73" y="165"/>
                    <a:pt x="88" y="170"/>
                    <a:pt x="104" y="170"/>
                  </a:cubicBezTo>
                  <a:cubicBezTo>
                    <a:pt x="120" y="170"/>
                    <a:pt x="136" y="165"/>
                    <a:pt x="148" y="157"/>
                  </a:cubicBezTo>
                  <a:cubicBezTo>
                    <a:pt x="166" y="166"/>
                    <a:pt x="192" y="186"/>
                    <a:pt x="192" y="220"/>
                  </a:cubicBezTo>
                  <a:lnTo>
                    <a:pt x="192" y="304"/>
                  </a:lnTo>
                  <a:close/>
                </a:path>
              </a:pathLst>
            </a:custGeom>
            <a:solidFill>
              <a:srgbClr val="FFFFFF"/>
            </a:solidFill>
            <a:ln w="952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pitchFamily="34" charset="0"/>
              </a:endParaRPr>
            </a:p>
          </p:txBody>
        </p:sp>
        <p:sp>
          <p:nvSpPr>
            <p:cNvPr id="41" name="Freeform 62"/>
            <p:cNvSpPr>
              <a:spLocks noChangeAspect="1"/>
            </p:cNvSpPr>
            <p:nvPr/>
          </p:nvSpPr>
          <p:spPr bwMode="auto">
            <a:xfrm rot="5400000">
              <a:off x="3591288" y="4003302"/>
              <a:ext cx="1409210" cy="675343"/>
            </a:xfrm>
            <a:custGeom>
              <a:avLst/>
              <a:gdLst>
                <a:gd name="T0" fmla="*/ 2147483647 w 717"/>
                <a:gd name="T1" fmla="*/ 2147483647 h 211"/>
                <a:gd name="T2" fmla="*/ 2147483647 w 717"/>
                <a:gd name="T3" fmla="*/ 2147483647 h 211"/>
                <a:gd name="T4" fmla="*/ 2147483647 w 717"/>
                <a:gd name="T5" fmla="*/ 0 h 211"/>
                <a:gd name="T6" fmla="*/ 2147483647 w 717"/>
                <a:gd name="T7" fmla="*/ 2147483647 h 211"/>
                <a:gd name="T8" fmla="*/ 2147483647 w 717"/>
                <a:gd name="T9" fmla="*/ 2147483647 h 211"/>
                <a:gd name="T10" fmla="*/ 0 w 717"/>
                <a:gd name="T11" fmla="*/ 2147483647 h 211"/>
                <a:gd name="T12" fmla="*/ 0 w 717"/>
                <a:gd name="T13" fmla="*/ 2147483647 h 211"/>
                <a:gd name="T14" fmla="*/ 2147483647 w 717"/>
                <a:gd name="T15" fmla="*/ 2147483647 h 211"/>
                <a:gd name="T16" fmla="*/ 2147483647 w 717"/>
                <a:gd name="T17" fmla="*/ 2147483647 h 211"/>
                <a:gd name="T18" fmla="*/ 2147483647 w 717"/>
                <a:gd name="T19" fmla="*/ 2147483647 h 211"/>
                <a:gd name="T20" fmla="*/ 2147483647 w 717"/>
                <a:gd name="T21" fmla="*/ 2147483647 h 211"/>
                <a:gd name="T22" fmla="*/ 2147483647 w 717"/>
                <a:gd name="T23" fmla="*/ 2147483647 h 21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717"/>
                <a:gd name="T37" fmla="*/ 0 h 211"/>
                <a:gd name="T38" fmla="*/ 717 w 717"/>
                <a:gd name="T39" fmla="*/ 211 h 21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717" h="211">
                  <a:moveTo>
                    <a:pt x="695" y="95"/>
                  </a:moveTo>
                  <a:cubicBezTo>
                    <a:pt x="375" y="2"/>
                    <a:pt x="375" y="2"/>
                    <a:pt x="375" y="2"/>
                  </a:cubicBezTo>
                  <a:cubicBezTo>
                    <a:pt x="375" y="2"/>
                    <a:pt x="369" y="0"/>
                    <a:pt x="358" y="0"/>
                  </a:cubicBezTo>
                  <a:cubicBezTo>
                    <a:pt x="348" y="0"/>
                    <a:pt x="341" y="2"/>
                    <a:pt x="341" y="2"/>
                  </a:cubicBezTo>
                  <a:cubicBezTo>
                    <a:pt x="21" y="95"/>
                    <a:pt x="21" y="95"/>
                    <a:pt x="21" y="95"/>
                  </a:cubicBezTo>
                  <a:cubicBezTo>
                    <a:pt x="21" y="95"/>
                    <a:pt x="0" y="100"/>
                    <a:pt x="0" y="118"/>
                  </a:cubicBezTo>
                  <a:cubicBezTo>
                    <a:pt x="0" y="125"/>
                    <a:pt x="0" y="176"/>
                    <a:pt x="0" y="190"/>
                  </a:cubicBezTo>
                  <a:cubicBezTo>
                    <a:pt x="0" y="202"/>
                    <a:pt x="10" y="211"/>
                    <a:pt x="21" y="211"/>
                  </a:cubicBezTo>
                  <a:cubicBezTo>
                    <a:pt x="695" y="211"/>
                    <a:pt x="695" y="211"/>
                    <a:pt x="695" y="211"/>
                  </a:cubicBezTo>
                  <a:cubicBezTo>
                    <a:pt x="707" y="211"/>
                    <a:pt x="717" y="202"/>
                    <a:pt x="717" y="190"/>
                  </a:cubicBezTo>
                  <a:cubicBezTo>
                    <a:pt x="717" y="175"/>
                    <a:pt x="717" y="125"/>
                    <a:pt x="717" y="118"/>
                  </a:cubicBezTo>
                  <a:cubicBezTo>
                    <a:pt x="717" y="100"/>
                    <a:pt x="695" y="95"/>
                    <a:pt x="695" y="95"/>
                  </a:cubicBezTo>
                  <a:close/>
                </a:path>
              </a:pathLst>
            </a:custGeom>
            <a:solidFill>
              <a:srgbClr val="FFFFFF"/>
            </a:solidFill>
            <a:ln w="38100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pitchFamily="34" charset="0"/>
              </a:endParaRPr>
            </a:p>
          </p:txBody>
        </p:sp>
      </p:grpSp>
      <p:sp>
        <p:nvSpPr>
          <p:cNvPr id="54" name="Freeform 15" descr="bpct-blend5"/>
          <p:cNvSpPr>
            <a:spLocks noChangeAspect="1" noEditPoints="1"/>
          </p:cNvSpPr>
          <p:nvPr/>
        </p:nvSpPr>
        <p:spPr bwMode="auto">
          <a:xfrm>
            <a:off x="5962534" y="2148678"/>
            <a:ext cx="535247" cy="381408"/>
          </a:xfrm>
          <a:custGeom>
            <a:avLst/>
            <a:gdLst>
              <a:gd name="T0" fmla="*/ 2147483647 w 503"/>
              <a:gd name="T1" fmla="*/ 2147483647 h 415"/>
              <a:gd name="T2" fmla="*/ 2147483647 w 503"/>
              <a:gd name="T3" fmla="*/ 2147483647 h 415"/>
              <a:gd name="T4" fmla="*/ 2147483647 w 503"/>
              <a:gd name="T5" fmla="*/ 2147483647 h 415"/>
              <a:gd name="T6" fmla="*/ 2147483647 w 503"/>
              <a:gd name="T7" fmla="*/ 2147483647 h 415"/>
              <a:gd name="T8" fmla="*/ 2147483647 w 503"/>
              <a:gd name="T9" fmla="*/ 2147483647 h 415"/>
              <a:gd name="T10" fmla="*/ 2147483647 w 503"/>
              <a:gd name="T11" fmla="*/ 2147483647 h 415"/>
              <a:gd name="T12" fmla="*/ 2147483647 w 503"/>
              <a:gd name="T13" fmla="*/ 2147483647 h 415"/>
              <a:gd name="T14" fmla="*/ 2147483647 w 503"/>
              <a:gd name="T15" fmla="*/ 2147483647 h 415"/>
              <a:gd name="T16" fmla="*/ 2147483647 w 503"/>
              <a:gd name="T17" fmla="*/ 2147483647 h 415"/>
              <a:gd name="T18" fmla="*/ 2147483647 w 503"/>
              <a:gd name="T19" fmla="*/ 2147483647 h 415"/>
              <a:gd name="T20" fmla="*/ 2147483647 w 503"/>
              <a:gd name="T21" fmla="*/ 2147483647 h 415"/>
              <a:gd name="T22" fmla="*/ 2147483647 w 503"/>
              <a:gd name="T23" fmla="*/ 2147483647 h 415"/>
              <a:gd name="T24" fmla="*/ 2147483647 w 503"/>
              <a:gd name="T25" fmla="*/ 2147483647 h 415"/>
              <a:gd name="T26" fmla="*/ 2147483647 w 503"/>
              <a:gd name="T27" fmla="*/ 2147483647 h 415"/>
              <a:gd name="T28" fmla="*/ 2147483647 w 503"/>
              <a:gd name="T29" fmla="*/ 2147483647 h 415"/>
              <a:gd name="T30" fmla="*/ 2147483647 w 503"/>
              <a:gd name="T31" fmla="*/ 2147483647 h 415"/>
              <a:gd name="T32" fmla="*/ 2147483647 w 503"/>
              <a:gd name="T33" fmla="*/ 2147483647 h 415"/>
              <a:gd name="T34" fmla="*/ 2147483647 w 503"/>
              <a:gd name="T35" fmla="*/ 2147483647 h 415"/>
              <a:gd name="T36" fmla="*/ 2147483647 w 503"/>
              <a:gd name="T37" fmla="*/ 2147483647 h 415"/>
              <a:gd name="T38" fmla="*/ 2147483647 w 503"/>
              <a:gd name="T39" fmla="*/ 2147483647 h 415"/>
              <a:gd name="T40" fmla="*/ 2147483647 w 503"/>
              <a:gd name="T41" fmla="*/ 2147483647 h 415"/>
              <a:gd name="T42" fmla="*/ 0 w 503"/>
              <a:gd name="T43" fmla="*/ 2147483647 h 415"/>
              <a:gd name="T44" fmla="*/ 2147483647 w 503"/>
              <a:gd name="T45" fmla="*/ 2147483647 h 415"/>
              <a:gd name="T46" fmla="*/ 2147483647 w 503"/>
              <a:gd name="T47" fmla="*/ 2147483647 h 415"/>
              <a:gd name="T48" fmla="*/ 2147483647 w 503"/>
              <a:gd name="T49" fmla="*/ 2147483647 h 415"/>
              <a:gd name="T50" fmla="*/ 2147483647 w 503"/>
              <a:gd name="T51" fmla="*/ 2147483647 h 415"/>
              <a:gd name="T52" fmla="*/ 2147483647 w 503"/>
              <a:gd name="T53" fmla="*/ 2147483647 h 415"/>
              <a:gd name="T54" fmla="*/ 2147483647 w 503"/>
              <a:gd name="T55" fmla="*/ 2147483647 h 415"/>
              <a:gd name="T56" fmla="*/ 2147483647 w 503"/>
              <a:gd name="T57" fmla="*/ 2147483647 h 415"/>
              <a:gd name="T58" fmla="*/ 2147483647 w 503"/>
              <a:gd name="T59" fmla="*/ 2147483647 h 415"/>
              <a:gd name="T60" fmla="*/ 2147483647 w 503"/>
              <a:gd name="T61" fmla="*/ 2147483647 h 415"/>
              <a:gd name="T62" fmla="*/ 2147483647 w 503"/>
              <a:gd name="T63" fmla="*/ 2147483647 h 415"/>
              <a:gd name="T64" fmla="*/ 2147483647 w 503"/>
              <a:gd name="T65" fmla="*/ 2147483647 h 415"/>
              <a:gd name="T66" fmla="*/ 2147483647 w 503"/>
              <a:gd name="T67" fmla="*/ 2147483647 h 415"/>
              <a:gd name="T68" fmla="*/ 2147483647 w 503"/>
              <a:gd name="T69" fmla="*/ 2147483647 h 415"/>
              <a:gd name="T70" fmla="*/ 2147483647 w 503"/>
              <a:gd name="T71" fmla="*/ 2147483647 h 415"/>
              <a:gd name="T72" fmla="*/ 2147483647 w 503"/>
              <a:gd name="T73" fmla="*/ 2147483647 h 415"/>
              <a:gd name="T74" fmla="*/ 2147483647 w 503"/>
              <a:gd name="T75" fmla="*/ 2147483647 h 415"/>
              <a:gd name="T76" fmla="*/ 2147483647 w 503"/>
              <a:gd name="T77" fmla="*/ 2147483647 h 415"/>
              <a:gd name="T78" fmla="*/ 2147483647 w 503"/>
              <a:gd name="T79" fmla="*/ 2147483647 h 415"/>
              <a:gd name="T80" fmla="*/ 2147483647 w 503"/>
              <a:gd name="T81" fmla="*/ 2147483647 h 415"/>
              <a:gd name="T82" fmla="*/ 2147483647 w 503"/>
              <a:gd name="T83" fmla="*/ 2147483647 h 415"/>
              <a:gd name="T84" fmla="*/ 2147483647 w 503"/>
              <a:gd name="T85" fmla="*/ 2147483647 h 415"/>
              <a:gd name="T86" fmla="*/ 2147483647 w 503"/>
              <a:gd name="T87" fmla="*/ 2147483647 h 415"/>
              <a:gd name="T88" fmla="*/ 2147483647 w 503"/>
              <a:gd name="T89" fmla="*/ 2147483647 h 415"/>
              <a:gd name="T90" fmla="*/ 2147483647 w 503"/>
              <a:gd name="T91" fmla="*/ 2147483647 h 415"/>
              <a:gd name="T92" fmla="*/ 2147483647 w 503"/>
              <a:gd name="T93" fmla="*/ 2147483647 h 415"/>
              <a:gd name="T94" fmla="*/ 2147483647 w 503"/>
              <a:gd name="T95" fmla="*/ 2147483647 h 415"/>
              <a:gd name="T96" fmla="*/ 2147483647 w 503"/>
              <a:gd name="T97" fmla="*/ 2147483647 h 415"/>
              <a:gd name="T98" fmla="*/ 2147483647 w 503"/>
              <a:gd name="T99" fmla="*/ 2147483647 h 415"/>
              <a:gd name="T100" fmla="*/ 2147483647 w 503"/>
              <a:gd name="T101" fmla="*/ 2147483647 h 415"/>
              <a:gd name="T102" fmla="*/ 2147483647 w 503"/>
              <a:gd name="T103" fmla="*/ 2147483647 h 415"/>
              <a:gd name="T104" fmla="*/ 2147483647 w 503"/>
              <a:gd name="T105" fmla="*/ 2147483647 h 415"/>
              <a:gd name="T106" fmla="*/ 2147483647 w 503"/>
              <a:gd name="T107" fmla="*/ 2147483647 h 415"/>
              <a:gd name="T108" fmla="*/ 2147483647 w 503"/>
              <a:gd name="T109" fmla="*/ 2147483647 h 415"/>
              <a:gd name="T110" fmla="*/ 2147483647 w 503"/>
              <a:gd name="T111" fmla="*/ 2147483647 h 415"/>
              <a:gd name="T112" fmla="*/ 2147483647 w 503"/>
              <a:gd name="T113" fmla="*/ 2147483647 h 415"/>
              <a:gd name="T114" fmla="*/ 2147483647 w 503"/>
              <a:gd name="T115" fmla="*/ 2147483647 h 415"/>
              <a:gd name="T116" fmla="*/ 2147483647 w 503"/>
              <a:gd name="T117" fmla="*/ 2147483647 h 415"/>
              <a:gd name="T118" fmla="*/ 2147483647 w 503"/>
              <a:gd name="T119" fmla="*/ 2147483647 h 415"/>
              <a:gd name="T120" fmla="*/ 2147483647 w 503"/>
              <a:gd name="T121" fmla="*/ 2147483647 h 415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503" h="415">
                <a:moveTo>
                  <a:pt x="495" y="251"/>
                </a:moveTo>
                <a:cubicBezTo>
                  <a:pt x="491" y="251"/>
                  <a:pt x="487" y="254"/>
                  <a:pt x="487" y="259"/>
                </a:cubicBezTo>
                <a:cubicBezTo>
                  <a:pt x="487" y="341"/>
                  <a:pt x="487" y="341"/>
                  <a:pt x="487" y="341"/>
                </a:cubicBezTo>
                <a:cubicBezTo>
                  <a:pt x="381" y="394"/>
                  <a:pt x="381" y="394"/>
                  <a:pt x="381" y="394"/>
                </a:cubicBezTo>
                <a:cubicBezTo>
                  <a:pt x="381" y="259"/>
                  <a:pt x="381" y="259"/>
                  <a:pt x="381" y="259"/>
                </a:cubicBezTo>
                <a:cubicBezTo>
                  <a:pt x="487" y="206"/>
                  <a:pt x="487" y="206"/>
                  <a:pt x="487" y="206"/>
                </a:cubicBezTo>
                <a:cubicBezTo>
                  <a:pt x="487" y="227"/>
                  <a:pt x="487" y="227"/>
                  <a:pt x="487" y="227"/>
                </a:cubicBezTo>
                <a:cubicBezTo>
                  <a:pt x="487" y="231"/>
                  <a:pt x="491" y="235"/>
                  <a:pt x="495" y="235"/>
                </a:cubicBezTo>
                <a:cubicBezTo>
                  <a:pt x="500" y="235"/>
                  <a:pt x="503" y="231"/>
                  <a:pt x="503" y="227"/>
                </a:cubicBezTo>
                <a:cubicBezTo>
                  <a:pt x="503" y="227"/>
                  <a:pt x="503" y="227"/>
                  <a:pt x="503" y="227"/>
                </a:cubicBezTo>
                <a:cubicBezTo>
                  <a:pt x="503" y="193"/>
                  <a:pt x="503" y="193"/>
                  <a:pt x="503" y="193"/>
                </a:cubicBezTo>
                <a:cubicBezTo>
                  <a:pt x="503" y="193"/>
                  <a:pt x="503" y="193"/>
                  <a:pt x="503" y="193"/>
                </a:cubicBezTo>
                <a:cubicBezTo>
                  <a:pt x="503" y="192"/>
                  <a:pt x="503" y="192"/>
                  <a:pt x="503" y="191"/>
                </a:cubicBezTo>
                <a:cubicBezTo>
                  <a:pt x="503" y="191"/>
                  <a:pt x="503" y="191"/>
                  <a:pt x="503" y="191"/>
                </a:cubicBezTo>
                <a:cubicBezTo>
                  <a:pt x="503" y="189"/>
                  <a:pt x="502" y="188"/>
                  <a:pt x="501" y="187"/>
                </a:cubicBezTo>
                <a:cubicBezTo>
                  <a:pt x="501" y="187"/>
                  <a:pt x="501" y="187"/>
                  <a:pt x="501" y="187"/>
                </a:cubicBezTo>
                <a:cubicBezTo>
                  <a:pt x="500" y="187"/>
                  <a:pt x="500" y="187"/>
                  <a:pt x="500" y="186"/>
                </a:cubicBezTo>
                <a:cubicBezTo>
                  <a:pt x="500" y="186"/>
                  <a:pt x="500" y="186"/>
                  <a:pt x="499" y="186"/>
                </a:cubicBezTo>
                <a:cubicBezTo>
                  <a:pt x="499" y="186"/>
                  <a:pt x="499" y="186"/>
                  <a:pt x="499" y="186"/>
                </a:cubicBezTo>
                <a:cubicBezTo>
                  <a:pt x="499" y="186"/>
                  <a:pt x="499" y="186"/>
                  <a:pt x="499" y="186"/>
                </a:cubicBezTo>
                <a:cubicBezTo>
                  <a:pt x="377" y="124"/>
                  <a:pt x="377" y="124"/>
                  <a:pt x="377" y="124"/>
                </a:cubicBezTo>
                <a:cubicBezTo>
                  <a:pt x="377" y="124"/>
                  <a:pt x="377" y="124"/>
                  <a:pt x="377" y="124"/>
                </a:cubicBezTo>
                <a:cubicBezTo>
                  <a:pt x="376" y="124"/>
                  <a:pt x="376" y="124"/>
                  <a:pt x="376" y="124"/>
                </a:cubicBezTo>
                <a:cubicBezTo>
                  <a:pt x="375" y="123"/>
                  <a:pt x="375" y="123"/>
                  <a:pt x="375" y="123"/>
                </a:cubicBezTo>
                <a:cubicBezTo>
                  <a:pt x="375" y="123"/>
                  <a:pt x="374" y="123"/>
                  <a:pt x="374" y="123"/>
                </a:cubicBezTo>
                <a:cubicBezTo>
                  <a:pt x="374" y="123"/>
                  <a:pt x="374" y="123"/>
                  <a:pt x="373" y="123"/>
                </a:cubicBezTo>
                <a:cubicBezTo>
                  <a:pt x="373" y="123"/>
                  <a:pt x="373" y="123"/>
                  <a:pt x="373" y="123"/>
                </a:cubicBezTo>
                <a:cubicBezTo>
                  <a:pt x="372" y="123"/>
                  <a:pt x="372" y="123"/>
                  <a:pt x="372" y="123"/>
                </a:cubicBezTo>
                <a:cubicBezTo>
                  <a:pt x="372" y="123"/>
                  <a:pt x="371" y="123"/>
                  <a:pt x="371" y="124"/>
                </a:cubicBezTo>
                <a:cubicBezTo>
                  <a:pt x="371" y="124"/>
                  <a:pt x="371" y="124"/>
                  <a:pt x="370" y="124"/>
                </a:cubicBezTo>
                <a:cubicBezTo>
                  <a:pt x="370" y="124"/>
                  <a:pt x="370" y="124"/>
                  <a:pt x="370" y="124"/>
                </a:cubicBezTo>
                <a:cubicBezTo>
                  <a:pt x="321" y="149"/>
                  <a:pt x="321" y="149"/>
                  <a:pt x="321" y="149"/>
                </a:cubicBezTo>
                <a:cubicBezTo>
                  <a:pt x="321" y="106"/>
                  <a:pt x="321" y="106"/>
                  <a:pt x="321" y="106"/>
                </a:cubicBezTo>
                <a:cubicBezTo>
                  <a:pt x="377" y="77"/>
                  <a:pt x="377" y="77"/>
                  <a:pt x="377" y="77"/>
                </a:cubicBezTo>
                <a:cubicBezTo>
                  <a:pt x="380" y="76"/>
                  <a:pt x="381" y="73"/>
                  <a:pt x="381" y="70"/>
                </a:cubicBezTo>
                <a:cubicBezTo>
                  <a:pt x="381" y="67"/>
                  <a:pt x="380" y="65"/>
                  <a:pt x="377" y="63"/>
                </a:cubicBezTo>
                <a:cubicBezTo>
                  <a:pt x="255" y="2"/>
                  <a:pt x="255" y="2"/>
                  <a:pt x="255" y="2"/>
                </a:cubicBezTo>
                <a:cubicBezTo>
                  <a:pt x="253" y="0"/>
                  <a:pt x="250" y="0"/>
                  <a:pt x="248" y="2"/>
                </a:cubicBezTo>
                <a:cubicBezTo>
                  <a:pt x="187" y="32"/>
                  <a:pt x="187" y="32"/>
                  <a:pt x="187" y="32"/>
                </a:cubicBezTo>
                <a:cubicBezTo>
                  <a:pt x="187" y="32"/>
                  <a:pt x="187" y="32"/>
                  <a:pt x="187" y="33"/>
                </a:cubicBezTo>
                <a:cubicBezTo>
                  <a:pt x="65" y="94"/>
                  <a:pt x="65" y="94"/>
                  <a:pt x="65" y="94"/>
                </a:cubicBezTo>
                <a:cubicBezTo>
                  <a:pt x="65" y="94"/>
                  <a:pt x="65" y="94"/>
                  <a:pt x="65" y="94"/>
                </a:cubicBezTo>
                <a:cubicBezTo>
                  <a:pt x="5" y="125"/>
                  <a:pt x="5" y="125"/>
                  <a:pt x="5" y="125"/>
                </a:cubicBezTo>
                <a:cubicBezTo>
                  <a:pt x="2" y="126"/>
                  <a:pt x="0" y="129"/>
                  <a:pt x="0" y="132"/>
                </a:cubicBezTo>
                <a:cubicBezTo>
                  <a:pt x="0" y="135"/>
                  <a:pt x="2" y="138"/>
                  <a:pt x="4" y="139"/>
                </a:cubicBezTo>
                <a:cubicBezTo>
                  <a:pt x="61" y="168"/>
                  <a:pt x="61" y="168"/>
                  <a:pt x="61" y="168"/>
                </a:cubicBezTo>
                <a:cubicBezTo>
                  <a:pt x="61" y="254"/>
                  <a:pt x="61" y="254"/>
                  <a:pt x="61" y="254"/>
                </a:cubicBezTo>
                <a:cubicBezTo>
                  <a:pt x="61" y="257"/>
                  <a:pt x="63" y="260"/>
                  <a:pt x="65" y="261"/>
                </a:cubicBezTo>
                <a:cubicBezTo>
                  <a:pt x="187" y="323"/>
                  <a:pt x="187" y="323"/>
                  <a:pt x="187" y="323"/>
                </a:cubicBezTo>
                <a:cubicBezTo>
                  <a:pt x="187" y="323"/>
                  <a:pt x="188" y="323"/>
                  <a:pt x="188" y="323"/>
                </a:cubicBezTo>
                <a:cubicBezTo>
                  <a:pt x="188" y="323"/>
                  <a:pt x="189" y="323"/>
                  <a:pt x="189" y="323"/>
                </a:cubicBezTo>
                <a:cubicBezTo>
                  <a:pt x="189" y="323"/>
                  <a:pt x="190" y="323"/>
                  <a:pt x="191" y="323"/>
                </a:cubicBezTo>
                <a:cubicBezTo>
                  <a:pt x="191" y="323"/>
                  <a:pt x="191" y="323"/>
                  <a:pt x="191" y="323"/>
                </a:cubicBezTo>
                <a:cubicBezTo>
                  <a:pt x="192" y="323"/>
                  <a:pt x="192" y="323"/>
                  <a:pt x="193" y="323"/>
                </a:cubicBezTo>
                <a:cubicBezTo>
                  <a:pt x="193" y="323"/>
                  <a:pt x="193" y="323"/>
                  <a:pt x="193" y="323"/>
                </a:cubicBezTo>
                <a:cubicBezTo>
                  <a:pt x="194" y="323"/>
                  <a:pt x="194" y="323"/>
                  <a:pt x="194" y="323"/>
                </a:cubicBezTo>
                <a:cubicBezTo>
                  <a:pt x="244" y="298"/>
                  <a:pt x="244" y="298"/>
                  <a:pt x="244" y="298"/>
                </a:cubicBezTo>
                <a:cubicBezTo>
                  <a:pt x="244" y="345"/>
                  <a:pt x="244" y="345"/>
                  <a:pt x="244" y="345"/>
                </a:cubicBezTo>
                <a:cubicBezTo>
                  <a:pt x="244" y="349"/>
                  <a:pt x="245" y="351"/>
                  <a:pt x="248" y="353"/>
                </a:cubicBezTo>
                <a:cubicBezTo>
                  <a:pt x="370" y="414"/>
                  <a:pt x="370" y="414"/>
                  <a:pt x="370" y="414"/>
                </a:cubicBezTo>
                <a:cubicBezTo>
                  <a:pt x="370" y="414"/>
                  <a:pt x="371" y="415"/>
                  <a:pt x="371" y="415"/>
                </a:cubicBezTo>
                <a:cubicBezTo>
                  <a:pt x="371" y="415"/>
                  <a:pt x="371" y="415"/>
                  <a:pt x="371" y="415"/>
                </a:cubicBezTo>
                <a:cubicBezTo>
                  <a:pt x="372" y="415"/>
                  <a:pt x="373" y="415"/>
                  <a:pt x="373" y="415"/>
                </a:cubicBezTo>
                <a:cubicBezTo>
                  <a:pt x="373" y="415"/>
                  <a:pt x="373" y="415"/>
                  <a:pt x="373" y="415"/>
                </a:cubicBezTo>
                <a:cubicBezTo>
                  <a:pt x="374" y="415"/>
                  <a:pt x="375" y="415"/>
                  <a:pt x="375" y="415"/>
                </a:cubicBezTo>
                <a:cubicBezTo>
                  <a:pt x="376" y="415"/>
                  <a:pt x="376" y="415"/>
                  <a:pt x="376" y="415"/>
                </a:cubicBezTo>
                <a:cubicBezTo>
                  <a:pt x="376" y="415"/>
                  <a:pt x="377" y="414"/>
                  <a:pt x="377" y="414"/>
                </a:cubicBezTo>
                <a:cubicBezTo>
                  <a:pt x="499" y="353"/>
                  <a:pt x="499" y="353"/>
                  <a:pt x="499" y="353"/>
                </a:cubicBezTo>
                <a:cubicBezTo>
                  <a:pt x="502" y="351"/>
                  <a:pt x="503" y="349"/>
                  <a:pt x="503" y="346"/>
                </a:cubicBezTo>
                <a:cubicBezTo>
                  <a:pt x="503" y="259"/>
                  <a:pt x="503" y="259"/>
                  <a:pt x="503" y="259"/>
                </a:cubicBezTo>
                <a:cubicBezTo>
                  <a:pt x="503" y="254"/>
                  <a:pt x="500" y="251"/>
                  <a:pt x="495" y="251"/>
                </a:cubicBezTo>
                <a:close/>
                <a:moveTo>
                  <a:pt x="252" y="18"/>
                </a:moveTo>
                <a:cubicBezTo>
                  <a:pt x="356" y="70"/>
                  <a:pt x="356" y="70"/>
                  <a:pt x="356" y="70"/>
                </a:cubicBezTo>
                <a:cubicBezTo>
                  <a:pt x="312" y="92"/>
                  <a:pt x="312" y="92"/>
                  <a:pt x="312" y="92"/>
                </a:cubicBezTo>
                <a:cubicBezTo>
                  <a:pt x="256" y="63"/>
                  <a:pt x="256" y="63"/>
                  <a:pt x="256" y="63"/>
                </a:cubicBezTo>
                <a:cubicBezTo>
                  <a:pt x="208" y="39"/>
                  <a:pt x="208" y="39"/>
                  <a:pt x="208" y="39"/>
                </a:cubicBezTo>
                <a:lnTo>
                  <a:pt x="252" y="18"/>
                </a:lnTo>
                <a:close/>
                <a:moveTo>
                  <a:pt x="26" y="132"/>
                </a:moveTo>
                <a:cubicBezTo>
                  <a:pt x="69" y="110"/>
                  <a:pt x="69" y="110"/>
                  <a:pt x="69" y="110"/>
                </a:cubicBezTo>
                <a:cubicBezTo>
                  <a:pt x="173" y="163"/>
                  <a:pt x="173" y="163"/>
                  <a:pt x="173" y="163"/>
                </a:cubicBezTo>
                <a:cubicBezTo>
                  <a:pt x="130" y="185"/>
                  <a:pt x="130" y="185"/>
                  <a:pt x="130" y="185"/>
                </a:cubicBezTo>
                <a:lnTo>
                  <a:pt x="26" y="132"/>
                </a:lnTo>
                <a:close/>
                <a:moveTo>
                  <a:pt x="183" y="302"/>
                </a:moveTo>
                <a:cubicBezTo>
                  <a:pt x="77" y="249"/>
                  <a:pt x="77" y="249"/>
                  <a:pt x="77" y="249"/>
                </a:cubicBezTo>
                <a:cubicBezTo>
                  <a:pt x="77" y="176"/>
                  <a:pt x="77" y="176"/>
                  <a:pt x="77" y="176"/>
                </a:cubicBezTo>
                <a:cubicBezTo>
                  <a:pt x="126" y="201"/>
                  <a:pt x="126" y="201"/>
                  <a:pt x="126" y="201"/>
                </a:cubicBezTo>
                <a:cubicBezTo>
                  <a:pt x="127" y="201"/>
                  <a:pt x="128" y="202"/>
                  <a:pt x="130" y="202"/>
                </a:cubicBezTo>
                <a:cubicBezTo>
                  <a:pt x="131" y="202"/>
                  <a:pt x="132" y="201"/>
                  <a:pt x="133" y="201"/>
                </a:cubicBezTo>
                <a:cubicBezTo>
                  <a:pt x="183" y="176"/>
                  <a:pt x="183" y="176"/>
                  <a:pt x="183" y="176"/>
                </a:cubicBezTo>
                <a:lnTo>
                  <a:pt x="183" y="302"/>
                </a:lnTo>
                <a:close/>
                <a:moveTo>
                  <a:pt x="191" y="154"/>
                </a:moveTo>
                <a:cubicBezTo>
                  <a:pt x="134" y="125"/>
                  <a:pt x="134" y="125"/>
                  <a:pt x="134" y="125"/>
                </a:cubicBezTo>
                <a:cubicBezTo>
                  <a:pt x="87" y="101"/>
                  <a:pt x="87" y="101"/>
                  <a:pt x="87" y="101"/>
                </a:cubicBezTo>
                <a:cubicBezTo>
                  <a:pt x="191" y="48"/>
                  <a:pt x="191" y="48"/>
                  <a:pt x="191" y="48"/>
                </a:cubicBezTo>
                <a:cubicBezTo>
                  <a:pt x="246" y="76"/>
                  <a:pt x="246" y="76"/>
                  <a:pt x="246" y="76"/>
                </a:cubicBezTo>
                <a:cubicBezTo>
                  <a:pt x="295" y="101"/>
                  <a:pt x="295" y="101"/>
                  <a:pt x="295" y="101"/>
                </a:cubicBezTo>
                <a:lnTo>
                  <a:pt x="191" y="154"/>
                </a:lnTo>
                <a:close/>
                <a:moveTo>
                  <a:pt x="248" y="186"/>
                </a:moveTo>
                <a:cubicBezTo>
                  <a:pt x="248" y="186"/>
                  <a:pt x="248" y="186"/>
                  <a:pt x="247" y="186"/>
                </a:cubicBezTo>
                <a:cubicBezTo>
                  <a:pt x="247" y="186"/>
                  <a:pt x="247" y="186"/>
                  <a:pt x="247" y="186"/>
                </a:cubicBezTo>
                <a:cubicBezTo>
                  <a:pt x="247" y="187"/>
                  <a:pt x="246" y="187"/>
                  <a:pt x="246" y="187"/>
                </a:cubicBezTo>
                <a:cubicBezTo>
                  <a:pt x="246" y="187"/>
                  <a:pt x="246" y="187"/>
                  <a:pt x="246" y="187"/>
                </a:cubicBezTo>
                <a:cubicBezTo>
                  <a:pt x="245" y="188"/>
                  <a:pt x="244" y="189"/>
                  <a:pt x="244" y="191"/>
                </a:cubicBezTo>
                <a:cubicBezTo>
                  <a:pt x="244" y="191"/>
                  <a:pt x="244" y="191"/>
                  <a:pt x="244" y="191"/>
                </a:cubicBezTo>
                <a:cubicBezTo>
                  <a:pt x="244" y="192"/>
                  <a:pt x="244" y="192"/>
                  <a:pt x="244" y="193"/>
                </a:cubicBezTo>
                <a:cubicBezTo>
                  <a:pt x="244" y="193"/>
                  <a:pt x="244" y="193"/>
                  <a:pt x="244" y="193"/>
                </a:cubicBezTo>
                <a:cubicBezTo>
                  <a:pt x="244" y="281"/>
                  <a:pt x="244" y="281"/>
                  <a:pt x="244" y="281"/>
                </a:cubicBezTo>
                <a:cubicBezTo>
                  <a:pt x="199" y="303"/>
                  <a:pt x="199" y="303"/>
                  <a:pt x="199" y="303"/>
                </a:cubicBezTo>
                <a:cubicBezTo>
                  <a:pt x="199" y="168"/>
                  <a:pt x="199" y="168"/>
                  <a:pt x="199" y="168"/>
                </a:cubicBezTo>
                <a:cubicBezTo>
                  <a:pt x="305" y="114"/>
                  <a:pt x="305" y="114"/>
                  <a:pt x="305" y="114"/>
                </a:cubicBezTo>
                <a:cubicBezTo>
                  <a:pt x="305" y="157"/>
                  <a:pt x="305" y="157"/>
                  <a:pt x="305" y="157"/>
                </a:cubicBezTo>
                <a:cubicBezTo>
                  <a:pt x="248" y="186"/>
                  <a:pt x="248" y="186"/>
                  <a:pt x="248" y="186"/>
                </a:cubicBezTo>
                <a:cubicBezTo>
                  <a:pt x="248" y="186"/>
                  <a:pt x="248" y="186"/>
                  <a:pt x="248" y="186"/>
                </a:cubicBezTo>
                <a:close/>
                <a:moveTo>
                  <a:pt x="365" y="394"/>
                </a:moveTo>
                <a:cubicBezTo>
                  <a:pt x="260" y="341"/>
                  <a:pt x="260" y="341"/>
                  <a:pt x="260" y="341"/>
                </a:cubicBezTo>
                <a:cubicBezTo>
                  <a:pt x="260" y="206"/>
                  <a:pt x="260" y="206"/>
                  <a:pt x="260" y="206"/>
                </a:cubicBezTo>
                <a:cubicBezTo>
                  <a:pt x="365" y="259"/>
                  <a:pt x="365" y="259"/>
                  <a:pt x="365" y="259"/>
                </a:cubicBezTo>
                <a:lnTo>
                  <a:pt x="365" y="394"/>
                </a:lnTo>
                <a:close/>
                <a:moveTo>
                  <a:pt x="373" y="246"/>
                </a:moveTo>
                <a:cubicBezTo>
                  <a:pt x="269" y="193"/>
                  <a:pt x="269" y="193"/>
                  <a:pt x="269" y="193"/>
                </a:cubicBezTo>
                <a:cubicBezTo>
                  <a:pt x="373" y="140"/>
                  <a:pt x="373" y="140"/>
                  <a:pt x="373" y="140"/>
                </a:cubicBezTo>
                <a:cubicBezTo>
                  <a:pt x="478" y="193"/>
                  <a:pt x="478" y="193"/>
                  <a:pt x="478" y="193"/>
                </a:cubicBezTo>
                <a:lnTo>
                  <a:pt x="373" y="24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58585A"/>
              </a:solidFill>
              <a:latin typeface="Arial" pitchFamily="34" charset="0"/>
            </a:endParaRPr>
          </a:p>
        </p:txBody>
      </p:sp>
      <p:sp>
        <p:nvSpPr>
          <p:cNvPr id="55" name="Freeform 3" descr="bpct-blend4"/>
          <p:cNvSpPr>
            <a:spLocks noChangeAspect="1" noEditPoints="1"/>
          </p:cNvSpPr>
          <p:nvPr/>
        </p:nvSpPr>
        <p:spPr bwMode="auto">
          <a:xfrm>
            <a:off x="6567860" y="2163391"/>
            <a:ext cx="377821" cy="336537"/>
          </a:xfrm>
          <a:custGeom>
            <a:avLst/>
            <a:gdLst>
              <a:gd name="T0" fmla="*/ 2147483647 w 417"/>
              <a:gd name="T1" fmla="*/ 2147483647 h 428"/>
              <a:gd name="T2" fmla="*/ 2147483647 w 417"/>
              <a:gd name="T3" fmla="*/ 2147483647 h 428"/>
              <a:gd name="T4" fmla="*/ 2147483647 w 417"/>
              <a:gd name="T5" fmla="*/ 2147483647 h 428"/>
              <a:gd name="T6" fmla="*/ 2147483647 w 417"/>
              <a:gd name="T7" fmla="*/ 2147483647 h 428"/>
              <a:gd name="T8" fmla="*/ 2147483647 w 417"/>
              <a:gd name="T9" fmla="*/ 2147483647 h 428"/>
              <a:gd name="T10" fmla="*/ 2147483647 w 417"/>
              <a:gd name="T11" fmla="*/ 2147483647 h 428"/>
              <a:gd name="T12" fmla="*/ 2147483647 w 417"/>
              <a:gd name="T13" fmla="*/ 2147483647 h 428"/>
              <a:gd name="T14" fmla="*/ 2147483647 w 417"/>
              <a:gd name="T15" fmla="*/ 0 h 428"/>
              <a:gd name="T16" fmla="*/ 2147483647 w 417"/>
              <a:gd name="T17" fmla="*/ 2147483647 h 428"/>
              <a:gd name="T18" fmla="*/ 2147483647 w 417"/>
              <a:gd name="T19" fmla="*/ 2147483647 h 428"/>
              <a:gd name="T20" fmla="*/ 2147483647 w 417"/>
              <a:gd name="T21" fmla="*/ 2147483647 h 428"/>
              <a:gd name="T22" fmla="*/ 2147483647 w 417"/>
              <a:gd name="T23" fmla="*/ 2147483647 h 428"/>
              <a:gd name="T24" fmla="*/ 2147483647 w 417"/>
              <a:gd name="T25" fmla="*/ 2147483647 h 428"/>
              <a:gd name="T26" fmla="*/ 0 w 417"/>
              <a:gd name="T27" fmla="*/ 2147483647 h 428"/>
              <a:gd name="T28" fmla="*/ 2147483647 w 417"/>
              <a:gd name="T29" fmla="*/ 2147483647 h 428"/>
              <a:gd name="T30" fmla="*/ 2147483647 w 417"/>
              <a:gd name="T31" fmla="*/ 2147483647 h 428"/>
              <a:gd name="T32" fmla="*/ 2147483647 w 417"/>
              <a:gd name="T33" fmla="*/ 2147483647 h 428"/>
              <a:gd name="T34" fmla="*/ 2147483647 w 417"/>
              <a:gd name="T35" fmla="*/ 2147483647 h 428"/>
              <a:gd name="T36" fmla="*/ 2147483647 w 417"/>
              <a:gd name="T37" fmla="*/ 2147483647 h 428"/>
              <a:gd name="T38" fmla="*/ 2147483647 w 417"/>
              <a:gd name="T39" fmla="*/ 2147483647 h 428"/>
              <a:gd name="T40" fmla="*/ 2147483647 w 417"/>
              <a:gd name="T41" fmla="*/ 2147483647 h 428"/>
              <a:gd name="T42" fmla="*/ 2147483647 w 417"/>
              <a:gd name="T43" fmla="*/ 2147483647 h 428"/>
              <a:gd name="T44" fmla="*/ 2147483647 w 417"/>
              <a:gd name="T45" fmla="*/ 2147483647 h 428"/>
              <a:gd name="T46" fmla="*/ 2147483647 w 417"/>
              <a:gd name="T47" fmla="*/ 2147483647 h 428"/>
              <a:gd name="T48" fmla="*/ 2147483647 w 417"/>
              <a:gd name="T49" fmla="*/ 2147483647 h 428"/>
              <a:gd name="T50" fmla="*/ 2147483647 w 417"/>
              <a:gd name="T51" fmla="*/ 2147483647 h 428"/>
              <a:gd name="T52" fmla="*/ 2147483647 w 417"/>
              <a:gd name="T53" fmla="*/ 2147483647 h 428"/>
              <a:gd name="T54" fmla="*/ 2147483647 w 417"/>
              <a:gd name="T55" fmla="*/ 2147483647 h 428"/>
              <a:gd name="T56" fmla="*/ 2147483647 w 417"/>
              <a:gd name="T57" fmla="*/ 2147483647 h 428"/>
              <a:gd name="T58" fmla="*/ 2147483647 w 417"/>
              <a:gd name="T59" fmla="*/ 2147483647 h 428"/>
              <a:gd name="T60" fmla="*/ 2147483647 w 417"/>
              <a:gd name="T61" fmla="*/ 2147483647 h 428"/>
              <a:gd name="T62" fmla="*/ 2147483647 w 417"/>
              <a:gd name="T63" fmla="*/ 2147483647 h 428"/>
              <a:gd name="T64" fmla="*/ 2147483647 w 417"/>
              <a:gd name="T65" fmla="*/ 2147483647 h 428"/>
              <a:gd name="T66" fmla="*/ 2147483647 w 417"/>
              <a:gd name="T67" fmla="*/ 2147483647 h 428"/>
              <a:gd name="T68" fmla="*/ 2147483647 w 417"/>
              <a:gd name="T69" fmla="*/ 2147483647 h 428"/>
              <a:gd name="T70" fmla="*/ 2147483647 w 417"/>
              <a:gd name="T71" fmla="*/ 2147483647 h 428"/>
              <a:gd name="T72" fmla="*/ 2147483647 w 417"/>
              <a:gd name="T73" fmla="*/ 2147483647 h 428"/>
              <a:gd name="T74" fmla="*/ 2147483647 w 417"/>
              <a:gd name="T75" fmla="*/ 2147483647 h 428"/>
              <a:gd name="T76" fmla="*/ 2147483647 w 417"/>
              <a:gd name="T77" fmla="*/ 2147483647 h 428"/>
              <a:gd name="T78" fmla="*/ 2147483647 w 417"/>
              <a:gd name="T79" fmla="*/ 2147483647 h 428"/>
              <a:gd name="T80" fmla="*/ 2147483647 w 417"/>
              <a:gd name="T81" fmla="*/ 2147483647 h 428"/>
              <a:gd name="T82" fmla="*/ 2147483647 w 417"/>
              <a:gd name="T83" fmla="*/ 2147483647 h 428"/>
              <a:gd name="T84" fmla="*/ 2147483647 w 417"/>
              <a:gd name="T85" fmla="*/ 2147483647 h 428"/>
              <a:gd name="T86" fmla="*/ 2147483647 w 417"/>
              <a:gd name="T87" fmla="*/ 2147483647 h 428"/>
              <a:gd name="T88" fmla="*/ 2147483647 w 417"/>
              <a:gd name="T89" fmla="*/ 2147483647 h 428"/>
              <a:gd name="T90" fmla="*/ 2147483647 w 417"/>
              <a:gd name="T91" fmla="*/ 2147483647 h 428"/>
              <a:gd name="T92" fmla="*/ 2147483647 w 417"/>
              <a:gd name="T93" fmla="*/ 2147483647 h 428"/>
              <a:gd name="T94" fmla="*/ 2147483647 w 417"/>
              <a:gd name="T95" fmla="*/ 2147483647 h 428"/>
              <a:gd name="T96" fmla="*/ 2147483647 w 417"/>
              <a:gd name="T97" fmla="*/ 2147483647 h 428"/>
              <a:gd name="T98" fmla="*/ 2147483647 w 417"/>
              <a:gd name="T99" fmla="*/ 2147483647 h 428"/>
              <a:gd name="T100" fmla="*/ 2147483647 w 417"/>
              <a:gd name="T101" fmla="*/ 2147483647 h 428"/>
              <a:gd name="T102" fmla="*/ 2147483647 w 417"/>
              <a:gd name="T103" fmla="*/ 2147483647 h 428"/>
              <a:gd name="T104" fmla="*/ 2147483647 w 417"/>
              <a:gd name="T105" fmla="*/ 2147483647 h 428"/>
              <a:gd name="T106" fmla="*/ 2147483647 w 417"/>
              <a:gd name="T107" fmla="*/ 2147483647 h 428"/>
              <a:gd name="T108" fmla="*/ 2147483647 w 417"/>
              <a:gd name="T109" fmla="*/ 2147483647 h 428"/>
              <a:gd name="T110" fmla="*/ 2147483647 w 417"/>
              <a:gd name="T111" fmla="*/ 2147483647 h 428"/>
              <a:gd name="T112" fmla="*/ 2147483647 w 417"/>
              <a:gd name="T113" fmla="*/ 2147483647 h 428"/>
              <a:gd name="T114" fmla="*/ 2147483647 w 417"/>
              <a:gd name="T115" fmla="*/ 2147483647 h 428"/>
              <a:gd name="T116" fmla="*/ 2147483647 w 417"/>
              <a:gd name="T117" fmla="*/ 2147483647 h 428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417"/>
              <a:gd name="T178" fmla="*/ 0 h 428"/>
              <a:gd name="T179" fmla="*/ 417 w 417"/>
              <a:gd name="T180" fmla="*/ 428 h 428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417" h="428">
                <a:moveTo>
                  <a:pt x="413" y="87"/>
                </a:moveTo>
                <a:cubicBezTo>
                  <a:pt x="415" y="80"/>
                  <a:pt x="417" y="73"/>
                  <a:pt x="417" y="66"/>
                </a:cubicBezTo>
                <a:cubicBezTo>
                  <a:pt x="417" y="54"/>
                  <a:pt x="413" y="42"/>
                  <a:pt x="407" y="32"/>
                </a:cubicBezTo>
                <a:cubicBezTo>
                  <a:pt x="405" y="28"/>
                  <a:pt x="400" y="27"/>
                  <a:pt x="396" y="29"/>
                </a:cubicBezTo>
                <a:cubicBezTo>
                  <a:pt x="392" y="31"/>
                  <a:pt x="391" y="36"/>
                  <a:pt x="393" y="40"/>
                </a:cubicBezTo>
                <a:cubicBezTo>
                  <a:pt x="393" y="40"/>
                  <a:pt x="393" y="40"/>
                  <a:pt x="393" y="40"/>
                </a:cubicBezTo>
                <a:cubicBezTo>
                  <a:pt x="401" y="52"/>
                  <a:pt x="403" y="67"/>
                  <a:pt x="398" y="82"/>
                </a:cubicBezTo>
                <a:cubicBezTo>
                  <a:pt x="389" y="108"/>
                  <a:pt x="361" y="122"/>
                  <a:pt x="335" y="114"/>
                </a:cubicBezTo>
                <a:cubicBezTo>
                  <a:pt x="309" y="105"/>
                  <a:pt x="294" y="77"/>
                  <a:pt x="303" y="50"/>
                </a:cubicBezTo>
                <a:cubicBezTo>
                  <a:pt x="312" y="24"/>
                  <a:pt x="340" y="10"/>
                  <a:pt x="366" y="19"/>
                </a:cubicBezTo>
                <a:cubicBezTo>
                  <a:pt x="369" y="19"/>
                  <a:pt x="371" y="21"/>
                  <a:pt x="374" y="22"/>
                </a:cubicBezTo>
                <a:cubicBezTo>
                  <a:pt x="374" y="22"/>
                  <a:pt x="374" y="22"/>
                  <a:pt x="374" y="22"/>
                </a:cubicBezTo>
                <a:cubicBezTo>
                  <a:pt x="378" y="24"/>
                  <a:pt x="383" y="22"/>
                  <a:pt x="385" y="18"/>
                </a:cubicBezTo>
                <a:cubicBezTo>
                  <a:pt x="387" y="15"/>
                  <a:pt x="385" y="10"/>
                  <a:pt x="381" y="8"/>
                </a:cubicBezTo>
                <a:cubicBezTo>
                  <a:pt x="378" y="6"/>
                  <a:pt x="375" y="5"/>
                  <a:pt x="371" y="3"/>
                </a:cubicBezTo>
                <a:cubicBezTo>
                  <a:pt x="364" y="1"/>
                  <a:pt x="357" y="0"/>
                  <a:pt x="351" y="0"/>
                </a:cubicBezTo>
                <a:cubicBezTo>
                  <a:pt x="323" y="0"/>
                  <a:pt x="297" y="18"/>
                  <a:pt x="288" y="45"/>
                </a:cubicBezTo>
                <a:cubicBezTo>
                  <a:pt x="287" y="49"/>
                  <a:pt x="286" y="52"/>
                  <a:pt x="286" y="55"/>
                </a:cubicBezTo>
                <a:cubicBezTo>
                  <a:pt x="189" y="81"/>
                  <a:pt x="189" y="81"/>
                  <a:pt x="189" y="81"/>
                </a:cubicBezTo>
                <a:cubicBezTo>
                  <a:pt x="180" y="74"/>
                  <a:pt x="170" y="70"/>
                  <a:pt x="159" y="70"/>
                </a:cubicBezTo>
                <a:cubicBezTo>
                  <a:pt x="154" y="70"/>
                  <a:pt x="150" y="71"/>
                  <a:pt x="146" y="72"/>
                </a:cubicBezTo>
                <a:cubicBezTo>
                  <a:pt x="143" y="73"/>
                  <a:pt x="141" y="74"/>
                  <a:pt x="139" y="75"/>
                </a:cubicBezTo>
                <a:cubicBezTo>
                  <a:pt x="115" y="59"/>
                  <a:pt x="115" y="59"/>
                  <a:pt x="115" y="59"/>
                </a:cubicBezTo>
                <a:cubicBezTo>
                  <a:pt x="113" y="58"/>
                  <a:pt x="112" y="58"/>
                  <a:pt x="110" y="58"/>
                </a:cubicBezTo>
                <a:cubicBezTo>
                  <a:pt x="47" y="58"/>
                  <a:pt x="47" y="58"/>
                  <a:pt x="47" y="58"/>
                </a:cubicBezTo>
                <a:cubicBezTo>
                  <a:pt x="45" y="58"/>
                  <a:pt x="43" y="59"/>
                  <a:pt x="41" y="60"/>
                </a:cubicBezTo>
                <a:cubicBezTo>
                  <a:pt x="2" y="99"/>
                  <a:pt x="2" y="99"/>
                  <a:pt x="2" y="99"/>
                </a:cubicBezTo>
                <a:cubicBezTo>
                  <a:pt x="1" y="100"/>
                  <a:pt x="0" y="102"/>
                  <a:pt x="0" y="105"/>
                </a:cubicBezTo>
                <a:cubicBezTo>
                  <a:pt x="0" y="107"/>
                  <a:pt x="1" y="109"/>
                  <a:pt x="3" y="110"/>
                </a:cubicBezTo>
                <a:cubicBezTo>
                  <a:pt x="22" y="127"/>
                  <a:pt x="22" y="127"/>
                  <a:pt x="22" y="127"/>
                </a:cubicBezTo>
                <a:cubicBezTo>
                  <a:pt x="25" y="130"/>
                  <a:pt x="30" y="130"/>
                  <a:pt x="33" y="127"/>
                </a:cubicBezTo>
                <a:cubicBezTo>
                  <a:pt x="53" y="107"/>
                  <a:pt x="53" y="107"/>
                  <a:pt x="53" y="107"/>
                </a:cubicBezTo>
                <a:cubicBezTo>
                  <a:pt x="84" y="108"/>
                  <a:pt x="84" y="108"/>
                  <a:pt x="84" y="108"/>
                </a:cubicBezTo>
                <a:cubicBezTo>
                  <a:pt x="111" y="131"/>
                  <a:pt x="111" y="131"/>
                  <a:pt x="111" y="131"/>
                </a:cubicBezTo>
                <a:cubicBezTo>
                  <a:pt x="100" y="165"/>
                  <a:pt x="100" y="165"/>
                  <a:pt x="100" y="165"/>
                </a:cubicBezTo>
                <a:cubicBezTo>
                  <a:pt x="73" y="182"/>
                  <a:pt x="73" y="182"/>
                  <a:pt x="73" y="182"/>
                </a:cubicBezTo>
                <a:cubicBezTo>
                  <a:pt x="46" y="175"/>
                  <a:pt x="46" y="175"/>
                  <a:pt x="46" y="175"/>
                </a:cubicBezTo>
                <a:cubicBezTo>
                  <a:pt x="42" y="174"/>
                  <a:pt x="38" y="176"/>
                  <a:pt x="37" y="180"/>
                </a:cubicBezTo>
                <a:cubicBezTo>
                  <a:pt x="28" y="204"/>
                  <a:pt x="28" y="204"/>
                  <a:pt x="28" y="204"/>
                </a:cubicBezTo>
                <a:cubicBezTo>
                  <a:pt x="28" y="206"/>
                  <a:pt x="28" y="209"/>
                  <a:pt x="29" y="211"/>
                </a:cubicBezTo>
                <a:cubicBezTo>
                  <a:pt x="30" y="213"/>
                  <a:pt x="32" y="214"/>
                  <a:pt x="34" y="215"/>
                </a:cubicBezTo>
                <a:cubicBezTo>
                  <a:pt x="87" y="228"/>
                  <a:pt x="87" y="228"/>
                  <a:pt x="87" y="228"/>
                </a:cubicBezTo>
                <a:cubicBezTo>
                  <a:pt x="87" y="228"/>
                  <a:pt x="88" y="228"/>
                  <a:pt x="89" y="228"/>
                </a:cubicBezTo>
                <a:cubicBezTo>
                  <a:pt x="90" y="228"/>
                  <a:pt x="92" y="228"/>
                  <a:pt x="93" y="227"/>
                </a:cubicBezTo>
                <a:cubicBezTo>
                  <a:pt x="148" y="195"/>
                  <a:pt x="148" y="195"/>
                  <a:pt x="148" y="195"/>
                </a:cubicBezTo>
                <a:cubicBezTo>
                  <a:pt x="149" y="194"/>
                  <a:pt x="150" y="193"/>
                  <a:pt x="151" y="192"/>
                </a:cubicBezTo>
                <a:cubicBezTo>
                  <a:pt x="164" y="166"/>
                  <a:pt x="164" y="166"/>
                  <a:pt x="164" y="166"/>
                </a:cubicBezTo>
                <a:cubicBezTo>
                  <a:pt x="166" y="166"/>
                  <a:pt x="169" y="165"/>
                  <a:pt x="171" y="165"/>
                </a:cubicBezTo>
                <a:cubicBezTo>
                  <a:pt x="187" y="161"/>
                  <a:pt x="198" y="149"/>
                  <a:pt x="203" y="135"/>
                </a:cubicBezTo>
                <a:cubicBezTo>
                  <a:pt x="295" y="110"/>
                  <a:pt x="295" y="110"/>
                  <a:pt x="295" y="110"/>
                </a:cubicBezTo>
                <a:cubicBezTo>
                  <a:pt x="257" y="224"/>
                  <a:pt x="257" y="224"/>
                  <a:pt x="257" y="224"/>
                </a:cubicBezTo>
                <a:cubicBezTo>
                  <a:pt x="231" y="232"/>
                  <a:pt x="212" y="257"/>
                  <a:pt x="212" y="286"/>
                </a:cubicBezTo>
                <a:cubicBezTo>
                  <a:pt x="212" y="294"/>
                  <a:pt x="213" y="302"/>
                  <a:pt x="216" y="309"/>
                </a:cubicBezTo>
                <a:cubicBezTo>
                  <a:pt x="151" y="415"/>
                  <a:pt x="151" y="415"/>
                  <a:pt x="151" y="415"/>
                </a:cubicBezTo>
                <a:cubicBezTo>
                  <a:pt x="150" y="418"/>
                  <a:pt x="150" y="421"/>
                  <a:pt x="151" y="423"/>
                </a:cubicBezTo>
                <a:cubicBezTo>
                  <a:pt x="153" y="426"/>
                  <a:pt x="155" y="428"/>
                  <a:pt x="158" y="428"/>
                </a:cubicBezTo>
                <a:cubicBezTo>
                  <a:pt x="402" y="428"/>
                  <a:pt x="402" y="428"/>
                  <a:pt x="402" y="428"/>
                </a:cubicBezTo>
                <a:cubicBezTo>
                  <a:pt x="405" y="428"/>
                  <a:pt x="408" y="426"/>
                  <a:pt x="409" y="423"/>
                </a:cubicBezTo>
                <a:cubicBezTo>
                  <a:pt x="411" y="421"/>
                  <a:pt x="411" y="418"/>
                  <a:pt x="409" y="415"/>
                </a:cubicBezTo>
                <a:cubicBezTo>
                  <a:pt x="341" y="304"/>
                  <a:pt x="341" y="304"/>
                  <a:pt x="341" y="304"/>
                </a:cubicBezTo>
                <a:cubicBezTo>
                  <a:pt x="343" y="298"/>
                  <a:pt x="344" y="292"/>
                  <a:pt x="344" y="286"/>
                </a:cubicBezTo>
                <a:cubicBezTo>
                  <a:pt x="344" y="272"/>
                  <a:pt x="339" y="259"/>
                  <a:pt x="331" y="248"/>
                </a:cubicBezTo>
                <a:cubicBezTo>
                  <a:pt x="371" y="129"/>
                  <a:pt x="371" y="129"/>
                  <a:pt x="371" y="129"/>
                </a:cubicBezTo>
                <a:cubicBezTo>
                  <a:pt x="390" y="123"/>
                  <a:pt x="406" y="108"/>
                  <a:pt x="413" y="87"/>
                </a:cubicBezTo>
                <a:close/>
                <a:moveTo>
                  <a:pt x="93" y="95"/>
                </a:moveTo>
                <a:cubicBezTo>
                  <a:pt x="91" y="93"/>
                  <a:pt x="90" y="93"/>
                  <a:pt x="88" y="93"/>
                </a:cubicBezTo>
                <a:cubicBezTo>
                  <a:pt x="50" y="91"/>
                  <a:pt x="50" y="91"/>
                  <a:pt x="50" y="91"/>
                </a:cubicBezTo>
                <a:cubicBezTo>
                  <a:pt x="50" y="91"/>
                  <a:pt x="49" y="91"/>
                  <a:pt x="49" y="91"/>
                </a:cubicBezTo>
                <a:cubicBezTo>
                  <a:pt x="47" y="91"/>
                  <a:pt x="45" y="92"/>
                  <a:pt x="44" y="93"/>
                </a:cubicBezTo>
                <a:cubicBezTo>
                  <a:pt x="27" y="110"/>
                  <a:pt x="27" y="110"/>
                  <a:pt x="27" y="110"/>
                </a:cubicBezTo>
                <a:cubicBezTo>
                  <a:pt x="20" y="104"/>
                  <a:pt x="20" y="104"/>
                  <a:pt x="20" y="104"/>
                </a:cubicBezTo>
                <a:cubicBezTo>
                  <a:pt x="50" y="74"/>
                  <a:pt x="50" y="74"/>
                  <a:pt x="50" y="74"/>
                </a:cubicBezTo>
                <a:cubicBezTo>
                  <a:pt x="108" y="74"/>
                  <a:pt x="108" y="74"/>
                  <a:pt x="108" y="74"/>
                </a:cubicBezTo>
                <a:cubicBezTo>
                  <a:pt x="125" y="84"/>
                  <a:pt x="125" y="84"/>
                  <a:pt x="125" y="84"/>
                </a:cubicBezTo>
                <a:cubicBezTo>
                  <a:pt x="118" y="92"/>
                  <a:pt x="113" y="101"/>
                  <a:pt x="111" y="111"/>
                </a:cubicBezTo>
                <a:lnTo>
                  <a:pt x="93" y="95"/>
                </a:lnTo>
                <a:close/>
                <a:moveTo>
                  <a:pt x="138" y="183"/>
                </a:moveTo>
                <a:cubicBezTo>
                  <a:pt x="88" y="212"/>
                  <a:pt x="88" y="212"/>
                  <a:pt x="88" y="212"/>
                </a:cubicBezTo>
                <a:cubicBezTo>
                  <a:pt x="46" y="201"/>
                  <a:pt x="46" y="201"/>
                  <a:pt x="46" y="201"/>
                </a:cubicBezTo>
                <a:cubicBezTo>
                  <a:pt x="49" y="192"/>
                  <a:pt x="49" y="192"/>
                  <a:pt x="49" y="192"/>
                </a:cubicBezTo>
                <a:cubicBezTo>
                  <a:pt x="72" y="198"/>
                  <a:pt x="72" y="198"/>
                  <a:pt x="72" y="198"/>
                </a:cubicBezTo>
                <a:cubicBezTo>
                  <a:pt x="74" y="199"/>
                  <a:pt x="77" y="199"/>
                  <a:pt x="79" y="197"/>
                </a:cubicBezTo>
                <a:cubicBezTo>
                  <a:pt x="111" y="177"/>
                  <a:pt x="111" y="177"/>
                  <a:pt x="111" y="177"/>
                </a:cubicBezTo>
                <a:cubicBezTo>
                  <a:pt x="112" y="176"/>
                  <a:pt x="113" y="174"/>
                  <a:pt x="114" y="173"/>
                </a:cubicBezTo>
                <a:cubicBezTo>
                  <a:pt x="122" y="149"/>
                  <a:pt x="122" y="149"/>
                  <a:pt x="122" y="149"/>
                </a:cubicBezTo>
                <a:cubicBezTo>
                  <a:pt x="128" y="157"/>
                  <a:pt x="137" y="162"/>
                  <a:pt x="147" y="165"/>
                </a:cubicBezTo>
                <a:lnTo>
                  <a:pt x="138" y="183"/>
                </a:lnTo>
                <a:close/>
                <a:moveTo>
                  <a:pt x="167" y="149"/>
                </a:moveTo>
                <a:cubicBezTo>
                  <a:pt x="150" y="154"/>
                  <a:pt x="132" y="144"/>
                  <a:pt x="128" y="127"/>
                </a:cubicBezTo>
                <a:cubicBezTo>
                  <a:pt x="123" y="110"/>
                  <a:pt x="133" y="92"/>
                  <a:pt x="150" y="88"/>
                </a:cubicBezTo>
                <a:cubicBezTo>
                  <a:pt x="167" y="83"/>
                  <a:pt x="185" y="93"/>
                  <a:pt x="189" y="110"/>
                </a:cubicBezTo>
                <a:cubicBezTo>
                  <a:pt x="194" y="127"/>
                  <a:pt x="184" y="145"/>
                  <a:pt x="167" y="149"/>
                </a:cubicBezTo>
                <a:close/>
                <a:moveTo>
                  <a:pt x="206" y="118"/>
                </a:moveTo>
                <a:cubicBezTo>
                  <a:pt x="206" y="114"/>
                  <a:pt x="206" y="110"/>
                  <a:pt x="205" y="106"/>
                </a:cubicBezTo>
                <a:cubicBezTo>
                  <a:pt x="205" y="106"/>
                  <a:pt x="205" y="106"/>
                  <a:pt x="205" y="106"/>
                </a:cubicBezTo>
                <a:cubicBezTo>
                  <a:pt x="204" y="102"/>
                  <a:pt x="202" y="98"/>
                  <a:pt x="200" y="95"/>
                </a:cubicBezTo>
                <a:cubicBezTo>
                  <a:pt x="285" y="72"/>
                  <a:pt x="285" y="72"/>
                  <a:pt x="285" y="72"/>
                </a:cubicBezTo>
                <a:cubicBezTo>
                  <a:pt x="285" y="80"/>
                  <a:pt x="288" y="88"/>
                  <a:pt x="291" y="95"/>
                </a:cubicBezTo>
                <a:lnTo>
                  <a:pt x="206" y="118"/>
                </a:lnTo>
                <a:close/>
                <a:moveTo>
                  <a:pt x="278" y="236"/>
                </a:moveTo>
                <a:cubicBezTo>
                  <a:pt x="305" y="236"/>
                  <a:pt x="328" y="259"/>
                  <a:pt x="328" y="286"/>
                </a:cubicBezTo>
                <a:cubicBezTo>
                  <a:pt x="328" y="314"/>
                  <a:pt x="305" y="337"/>
                  <a:pt x="278" y="337"/>
                </a:cubicBezTo>
                <a:cubicBezTo>
                  <a:pt x="250" y="337"/>
                  <a:pt x="227" y="314"/>
                  <a:pt x="227" y="286"/>
                </a:cubicBezTo>
                <a:cubicBezTo>
                  <a:pt x="227" y="259"/>
                  <a:pt x="250" y="236"/>
                  <a:pt x="278" y="236"/>
                </a:cubicBezTo>
                <a:close/>
                <a:moveTo>
                  <a:pt x="333" y="322"/>
                </a:moveTo>
                <a:cubicBezTo>
                  <a:pt x="388" y="412"/>
                  <a:pt x="388" y="412"/>
                  <a:pt x="388" y="412"/>
                </a:cubicBezTo>
                <a:cubicBezTo>
                  <a:pt x="172" y="412"/>
                  <a:pt x="172" y="412"/>
                  <a:pt x="172" y="412"/>
                </a:cubicBezTo>
                <a:cubicBezTo>
                  <a:pt x="225" y="326"/>
                  <a:pt x="225" y="326"/>
                  <a:pt x="225" y="326"/>
                </a:cubicBezTo>
                <a:cubicBezTo>
                  <a:pt x="237" y="342"/>
                  <a:pt x="256" y="352"/>
                  <a:pt x="278" y="352"/>
                </a:cubicBezTo>
                <a:cubicBezTo>
                  <a:pt x="301" y="352"/>
                  <a:pt x="322" y="340"/>
                  <a:pt x="333" y="322"/>
                </a:cubicBezTo>
                <a:close/>
                <a:moveTo>
                  <a:pt x="319" y="235"/>
                </a:moveTo>
                <a:cubicBezTo>
                  <a:pt x="308" y="226"/>
                  <a:pt x="293" y="220"/>
                  <a:pt x="278" y="220"/>
                </a:cubicBezTo>
                <a:cubicBezTo>
                  <a:pt x="277" y="220"/>
                  <a:pt x="276" y="220"/>
                  <a:pt x="275" y="220"/>
                </a:cubicBezTo>
                <a:cubicBezTo>
                  <a:pt x="309" y="118"/>
                  <a:pt x="309" y="118"/>
                  <a:pt x="309" y="118"/>
                </a:cubicBezTo>
                <a:cubicBezTo>
                  <a:pt x="315" y="122"/>
                  <a:pt x="322" y="126"/>
                  <a:pt x="330" y="129"/>
                </a:cubicBezTo>
                <a:cubicBezTo>
                  <a:pt x="337" y="131"/>
                  <a:pt x="344" y="132"/>
                  <a:pt x="351" y="132"/>
                </a:cubicBezTo>
                <a:cubicBezTo>
                  <a:pt x="351" y="132"/>
                  <a:pt x="351" y="132"/>
                  <a:pt x="351" y="132"/>
                </a:cubicBezTo>
                <a:cubicBezTo>
                  <a:pt x="351" y="132"/>
                  <a:pt x="352" y="132"/>
                  <a:pt x="353" y="132"/>
                </a:cubicBezTo>
                <a:lnTo>
                  <a:pt x="319" y="23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58585A"/>
              </a:solidFill>
              <a:latin typeface="Arial" pitchFamily="34" charset="0"/>
            </a:endParaRPr>
          </a:p>
        </p:txBody>
      </p:sp>
      <p:sp>
        <p:nvSpPr>
          <p:cNvPr id="56" name="Freeform 16" descr="bpct-blend2"/>
          <p:cNvSpPr>
            <a:spLocks noChangeAspect="1" noEditPoints="1"/>
          </p:cNvSpPr>
          <p:nvPr/>
        </p:nvSpPr>
        <p:spPr bwMode="auto">
          <a:xfrm>
            <a:off x="7669333" y="2143774"/>
            <a:ext cx="406683" cy="396366"/>
          </a:xfrm>
          <a:custGeom>
            <a:avLst/>
            <a:gdLst>
              <a:gd name="T0" fmla="*/ 2147483647 w 362"/>
              <a:gd name="T1" fmla="*/ 2147483647 h 409"/>
              <a:gd name="T2" fmla="*/ 2147483647 w 362"/>
              <a:gd name="T3" fmla="*/ 2147483647 h 409"/>
              <a:gd name="T4" fmla="*/ 2147483647 w 362"/>
              <a:gd name="T5" fmla="*/ 2147483647 h 409"/>
              <a:gd name="T6" fmla="*/ 2147483647 w 362"/>
              <a:gd name="T7" fmla="*/ 2147483647 h 409"/>
              <a:gd name="T8" fmla="*/ 2147483647 w 362"/>
              <a:gd name="T9" fmla="*/ 2147483647 h 409"/>
              <a:gd name="T10" fmla="*/ 2147483647 w 362"/>
              <a:gd name="T11" fmla="*/ 2147483647 h 409"/>
              <a:gd name="T12" fmla="*/ 2147483647 w 362"/>
              <a:gd name="T13" fmla="*/ 2147483647 h 409"/>
              <a:gd name="T14" fmla="*/ 2147483647 w 362"/>
              <a:gd name="T15" fmla="*/ 2147483647 h 409"/>
              <a:gd name="T16" fmla="*/ 2147483647 w 362"/>
              <a:gd name="T17" fmla="*/ 2147483647 h 409"/>
              <a:gd name="T18" fmla="*/ 2147483647 w 362"/>
              <a:gd name="T19" fmla="*/ 2147483647 h 409"/>
              <a:gd name="T20" fmla="*/ 2147483647 w 362"/>
              <a:gd name="T21" fmla="*/ 2147483647 h 409"/>
              <a:gd name="T22" fmla="*/ 2147483647 w 362"/>
              <a:gd name="T23" fmla="*/ 2147483647 h 409"/>
              <a:gd name="T24" fmla="*/ 2147483647 w 362"/>
              <a:gd name="T25" fmla="*/ 2147483647 h 409"/>
              <a:gd name="T26" fmla="*/ 2147483647 w 362"/>
              <a:gd name="T27" fmla="*/ 2147483647 h 409"/>
              <a:gd name="T28" fmla="*/ 2147483647 w 362"/>
              <a:gd name="T29" fmla="*/ 2147483647 h 409"/>
              <a:gd name="T30" fmla="*/ 2147483647 w 362"/>
              <a:gd name="T31" fmla="*/ 2147483647 h 409"/>
              <a:gd name="T32" fmla="*/ 2147483647 w 362"/>
              <a:gd name="T33" fmla="*/ 2147483647 h 409"/>
              <a:gd name="T34" fmla="*/ 2147483647 w 362"/>
              <a:gd name="T35" fmla="*/ 2147483647 h 409"/>
              <a:gd name="T36" fmla="*/ 0 w 362"/>
              <a:gd name="T37" fmla="*/ 2147483647 h 409"/>
              <a:gd name="T38" fmla="*/ 2147483647 w 362"/>
              <a:gd name="T39" fmla="*/ 2147483647 h 409"/>
              <a:gd name="T40" fmla="*/ 2147483647 w 362"/>
              <a:gd name="T41" fmla="*/ 2147483647 h 409"/>
              <a:gd name="T42" fmla="*/ 2147483647 w 362"/>
              <a:gd name="T43" fmla="*/ 2147483647 h 409"/>
              <a:gd name="T44" fmla="*/ 0 w 362"/>
              <a:gd name="T45" fmla="*/ 2147483647 h 409"/>
              <a:gd name="T46" fmla="*/ 2147483647 w 362"/>
              <a:gd name="T47" fmla="*/ 2147483647 h 409"/>
              <a:gd name="T48" fmla="*/ 2147483647 w 362"/>
              <a:gd name="T49" fmla="*/ 2147483647 h 409"/>
              <a:gd name="T50" fmla="*/ 2147483647 w 362"/>
              <a:gd name="T51" fmla="*/ 2147483647 h 409"/>
              <a:gd name="T52" fmla="*/ 2147483647 w 362"/>
              <a:gd name="T53" fmla="*/ 2147483647 h 409"/>
              <a:gd name="T54" fmla="*/ 2147483647 w 362"/>
              <a:gd name="T55" fmla="*/ 2147483647 h 409"/>
              <a:gd name="T56" fmla="*/ 2147483647 w 362"/>
              <a:gd name="T57" fmla="*/ 2147483647 h 409"/>
              <a:gd name="T58" fmla="*/ 2147483647 w 362"/>
              <a:gd name="T59" fmla="*/ 2147483647 h 409"/>
              <a:gd name="T60" fmla="*/ 2147483647 w 362"/>
              <a:gd name="T61" fmla="*/ 2147483647 h 409"/>
              <a:gd name="T62" fmla="*/ 2147483647 w 362"/>
              <a:gd name="T63" fmla="*/ 2147483647 h 409"/>
              <a:gd name="T64" fmla="*/ 2147483647 w 362"/>
              <a:gd name="T65" fmla="*/ 2147483647 h 409"/>
              <a:gd name="T66" fmla="*/ 2147483647 w 362"/>
              <a:gd name="T67" fmla="*/ 2147483647 h 409"/>
              <a:gd name="T68" fmla="*/ 2147483647 w 362"/>
              <a:gd name="T69" fmla="*/ 2147483647 h 409"/>
              <a:gd name="T70" fmla="*/ 2147483647 w 362"/>
              <a:gd name="T71" fmla="*/ 2147483647 h 409"/>
              <a:gd name="T72" fmla="*/ 2147483647 w 362"/>
              <a:gd name="T73" fmla="*/ 2147483647 h 409"/>
              <a:gd name="T74" fmla="*/ 2147483647 w 362"/>
              <a:gd name="T75" fmla="*/ 2147483647 h 409"/>
              <a:gd name="T76" fmla="*/ 2147483647 w 362"/>
              <a:gd name="T77" fmla="*/ 2147483647 h 409"/>
              <a:gd name="T78" fmla="*/ 2147483647 w 362"/>
              <a:gd name="T79" fmla="*/ 2147483647 h 409"/>
              <a:gd name="T80" fmla="*/ 2147483647 w 362"/>
              <a:gd name="T81" fmla="*/ 2147483647 h 409"/>
              <a:gd name="T82" fmla="*/ 2147483647 w 362"/>
              <a:gd name="T83" fmla="*/ 2147483647 h 409"/>
              <a:gd name="T84" fmla="*/ 2147483647 w 362"/>
              <a:gd name="T85" fmla="*/ 2147483647 h 409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362" h="409">
                <a:moveTo>
                  <a:pt x="238" y="178"/>
                </a:moveTo>
                <a:cubicBezTo>
                  <a:pt x="239" y="178"/>
                  <a:pt x="240" y="178"/>
                  <a:pt x="242" y="177"/>
                </a:cubicBezTo>
                <a:cubicBezTo>
                  <a:pt x="312" y="138"/>
                  <a:pt x="312" y="138"/>
                  <a:pt x="312" y="138"/>
                </a:cubicBezTo>
                <a:cubicBezTo>
                  <a:pt x="318" y="143"/>
                  <a:pt x="325" y="146"/>
                  <a:pt x="333" y="146"/>
                </a:cubicBezTo>
                <a:cubicBezTo>
                  <a:pt x="338" y="146"/>
                  <a:pt x="343" y="145"/>
                  <a:pt x="347" y="142"/>
                </a:cubicBezTo>
                <a:cubicBezTo>
                  <a:pt x="357" y="137"/>
                  <a:pt x="362" y="127"/>
                  <a:pt x="362" y="117"/>
                </a:cubicBezTo>
                <a:cubicBezTo>
                  <a:pt x="362" y="112"/>
                  <a:pt x="361" y="107"/>
                  <a:pt x="358" y="102"/>
                </a:cubicBezTo>
                <a:cubicBezTo>
                  <a:pt x="352" y="93"/>
                  <a:pt x="343" y="88"/>
                  <a:pt x="332" y="88"/>
                </a:cubicBezTo>
                <a:cubicBezTo>
                  <a:pt x="328" y="88"/>
                  <a:pt x="322" y="89"/>
                  <a:pt x="318" y="92"/>
                </a:cubicBezTo>
                <a:cubicBezTo>
                  <a:pt x="318" y="92"/>
                  <a:pt x="318" y="92"/>
                  <a:pt x="318" y="92"/>
                </a:cubicBezTo>
                <a:cubicBezTo>
                  <a:pt x="308" y="97"/>
                  <a:pt x="303" y="107"/>
                  <a:pt x="303" y="117"/>
                </a:cubicBezTo>
                <a:cubicBezTo>
                  <a:pt x="303" y="119"/>
                  <a:pt x="303" y="122"/>
                  <a:pt x="304" y="124"/>
                </a:cubicBezTo>
                <a:cubicBezTo>
                  <a:pt x="234" y="163"/>
                  <a:pt x="234" y="163"/>
                  <a:pt x="234" y="163"/>
                </a:cubicBezTo>
                <a:cubicBezTo>
                  <a:pt x="230" y="165"/>
                  <a:pt x="229" y="170"/>
                  <a:pt x="231" y="174"/>
                </a:cubicBezTo>
                <a:cubicBezTo>
                  <a:pt x="232" y="176"/>
                  <a:pt x="235" y="178"/>
                  <a:pt x="238" y="178"/>
                </a:cubicBezTo>
                <a:close/>
                <a:moveTo>
                  <a:pt x="326" y="105"/>
                </a:moveTo>
                <a:cubicBezTo>
                  <a:pt x="326" y="105"/>
                  <a:pt x="326" y="105"/>
                  <a:pt x="326" y="105"/>
                </a:cubicBezTo>
                <a:cubicBezTo>
                  <a:pt x="328" y="104"/>
                  <a:pt x="330" y="104"/>
                  <a:pt x="332" y="104"/>
                </a:cubicBezTo>
                <a:cubicBezTo>
                  <a:pt x="337" y="104"/>
                  <a:pt x="342" y="106"/>
                  <a:pt x="344" y="110"/>
                </a:cubicBezTo>
                <a:cubicBezTo>
                  <a:pt x="345" y="112"/>
                  <a:pt x="346" y="115"/>
                  <a:pt x="346" y="117"/>
                </a:cubicBezTo>
                <a:cubicBezTo>
                  <a:pt x="346" y="122"/>
                  <a:pt x="343" y="126"/>
                  <a:pt x="339" y="129"/>
                </a:cubicBezTo>
                <a:cubicBezTo>
                  <a:pt x="337" y="130"/>
                  <a:pt x="335" y="130"/>
                  <a:pt x="333" y="130"/>
                </a:cubicBezTo>
                <a:cubicBezTo>
                  <a:pt x="328" y="130"/>
                  <a:pt x="323" y="128"/>
                  <a:pt x="321" y="124"/>
                </a:cubicBezTo>
                <a:cubicBezTo>
                  <a:pt x="320" y="122"/>
                  <a:pt x="319" y="119"/>
                  <a:pt x="319" y="117"/>
                </a:cubicBezTo>
                <a:cubicBezTo>
                  <a:pt x="319" y="112"/>
                  <a:pt x="322" y="108"/>
                  <a:pt x="326" y="105"/>
                </a:cubicBezTo>
                <a:close/>
                <a:moveTo>
                  <a:pt x="347" y="267"/>
                </a:moveTo>
                <a:cubicBezTo>
                  <a:pt x="343" y="264"/>
                  <a:pt x="338" y="263"/>
                  <a:pt x="333" y="263"/>
                </a:cubicBezTo>
                <a:cubicBezTo>
                  <a:pt x="325" y="263"/>
                  <a:pt x="318" y="266"/>
                  <a:pt x="312" y="271"/>
                </a:cubicBezTo>
                <a:cubicBezTo>
                  <a:pt x="236" y="225"/>
                  <a:pt x="236" y="225"/>
                  <a:pt x="236" y="225"/>
                </a:cubicBezTo>
                <a:cubicBezTo>
                  <a:pt x="238" y="219"/>
                  <a:pt x="239" y="212"/>
                  <a:pt x="239" y="205"/>
                </a:cubicBezTo>
                <a:cubicBezTo>
                  <a:pt x="239" y="200"/>
                  <a:pt x="239" y="195"/>
                  <a:pt x="238" y="190"/>
                </a:cubicBezTo>
                <a:cubicBezTo>
                  <a:pt x="237" y="186"/>
                  <a:pt x="232" y="184"/>
                  <a:pt x="228" y="185"/>
                </a:cubicBezTo>
                <a:cubicBezTo>
                  <a:pt x="224" y="186"/>
                  <a:pt x="221" y="190"/>
                  <a:pt x="222" y="194"/>
                </a:cubicBezTo>
                <a:cubicBezTo>
                  <a:pt x="223" y="198"/>
                  <a:pt x="223" y="201"/>
                  <a:pt x="223" y="205"/>
                </a:cubicBezTo>
                <a:cubicBezTo>
                  <a:pt x="223" y="228"/>
                  <a:pt x="204" y="247"/>
                  <a:pt x="181" y="247"/>
                </a:cubicBezTo>
                <a:cubicBezTo>
                  <a:pt x="157" y="247"/>
                  <a:pt x="138" y="228"/>
                  <a:pt x="138" y="205"/>
                </a:cubicBezTo>
                <a:cubicBezTo>
                  <a:pt x="138" y="181"/>
                  <a:pt x="157" y="162"/>
                  <a:pt x="181" y="162"/>
                </a:cubicBezTo>
                <a:cubicBezTo>
                  <a:pt x="191" y="162"/>
                  <a:pt x="201" y="166"/>
                  <a:pt x="208" y="172"/>
                </a:cubicBezTo>
                <a:cubicBezTo>
                  <a:pt x="211" y="174"/>
                  <a:pt x="216" y="174"/>
                  <a:pt x="219" y="171"/>
                </a:cubicBezTo>
                <a:cubicBezTo>
                  <a:pt x="222" y="167"/>
                  <a:pt x="222" y="162"/>
                  <a:pt x="218" y="159"/>
                </a:cubicBezTo>
                <a:cubicBezTo>
                  <a:pt x="218" y="159"/>
                  <a:pt x="218" y="159"/>
                  <a:pt x="218" y="159"/>
                </a:cubicBezTo>
                <a:cubicBezTo>
                  <a:pt x="210" y="153"/>
                  <a:pt x="200" y="148"/>
                  <a:pt x="189" y="147"/>
                </a:cubicBezTo>
                <a:cubicBezTo>
                  <a:pt x="189" y="58"/>
                  <a:pt x="189" y="58"/>
                  <a:pt x="189" y="58"/>
                </a:cubicBezTo>
                <a:cubicBezTo>
                  <a:pt x="201" y="54"/>
                  <a:pt x="210" y="43"/>
                  <a:pt x="210" y="29"/>
                </a:cubicBezTo>
                <a:cubicBezTo>
                  <a:pt x="210" y="29"/>
                  <a:pt x="210" y="29"/>
                  <a:pt x="210" y="29"/>
                </a:cubicBezTo>
                <a:cubicBezTo>
                  <a:pt x="210" y="13"/>
                  <a:pt x="197" y="0"/>
                  <a:pt x="181" y="0"/>
                </a:cubicBezTo>
                <a:cubicBezTo>
                  <a:pt x="165" y="0"/>
                  <a:pt x="151" y="13"/>
                  <a:pt x="151" y="29"/>
                </a:cubicBezTo>
                <a:cubicBezTo>
                  <a:pt x="151" y="43"/>
                  <a:pt x="160" y="54"/>
                  <a:pt x="173" y="58"/>
                </a:cubicBezTo>
                <a:cubicBezTo>
                  <a:pt x="173" y="147"/>
                  <a:pt x="173" y="147"/>
                  <a:pt x="173" y="147"/>
                </a:cubicBezTo>
                <a:cubicBezTo>
                  <a:pt x="158" y="149"/>
                  <a:pt x="145" y="156"/>
                  <a:pt x="136" y="167"/>
                </a:cubicBezTo>
                <a:cubicBezTo>
                  <a:pt x="57" y="124"/>
                  <a:pt x="57" y="124"/>
                  <a:pt x="57" y="124"/>
                </a:cubicBezTo>
                <a:cubicBezTo>
                  <a:pt x="58" y="122"/>
                  <a:pt x="58" y="119"/>
                  <a:pt x="58" y="117"/>
                </a:cubicBezTo>
                <a:cubicBezTo>
                  <a:pt x="58" y="107"/>
                  <a:pt x="53" y="97"/>
                  <a:pt x="44" y="92"/>
                </a:cubicBezTo>
                <a:cubicBezTo>
                  <a:pt x="44" y="92"/>
                  <a:pt x="44" y="92"/>
                  <a:pt x="44" y="92"/>
                </a:cubicBezTo>
                <a:cubicBezTo>
                  <a:pt x="39" y="89"/>
                  <a:pt x="34" y="88"/>
                  <a:pt x="29" y="88"/>
                </a:cubicBezTo>
                <a:cubicBezTo>
                  <a:pt x="19" y="88"/>
                  <a:pt x="9" y="93"/>
                  <a:pt x="4" y="102"/>
                </a:cubicBezTo>
                <a:cubicBezTo>
                  <a:pt x="1" y="107"/>
                  <a:pt x="0" y="112"/>
                  <a:pt x="0" y="117"/>
                </a:cubicBezTo>
                <a:cubicBezTo>
                  <a:pt x="0" y="127"/>
                  <a:pt x="5" y="137"/>
                  <a:pt x="14" y="142"/>
                </a:cubicBezTo>
                <a:cubicBezTo>
                  <a:pt x="19" y="145"/>
                  <a:pt x="24" y="146"/>
                  <a:pt x="29" y="146"/>
                </a:cubicBezTo>
                <a:cubicBezTo>
                  <a:pt x="29" y="146"/>
                  <a:pt x="29" y="146"/>
                  <a:pt x="29" y="146"/>
                </a:cubicBezTo>
                <a:cubicBezTo>
                  <a:pt x="37" y="146"/>
                  <a:pt x="44" y="143"/>
                  <a:pt x="50" y="138"/>
                </a:cubicBezTo>
                <a:cubicBezTo>
                  <a:pt x="127" y="181"/>
                  <a:pt x="127" y="181"/>
                  <a:pt x="127" y="181"/>
                </a:cubicBezTo>
                <a:cubicBezTo>
                  <a:pt x="124" y="188"/>
                  <a:pt x="122" y="196"/>
                  <a:pt x="122" y="205"/>
                </a:cubicBezTo>
                <a:cubicBezTo>
                  <a:pt x="122" y="212"/>
                  <a:pt x="123" y="219"/>
                  <a:pt x="126" y="225"/>
                </a:cubicBezTo>
                <a:cubicBezTo>
                  <a:pt x="49" y="271"/>
                  <a:pt x="49" y="271"/>
                  <a:pt x="49" y="271"/>
                </a:cubicBezTo>
                <a:cubicBezTo>
                  <a:pt x="44" y="266"/>
                  <a:pt x="37" y="263"/>
                  <a:pt x="29" y="263"/>
                </a:cubicBezTo>
                <a:cubicBezTo>
                  <a:pt x="24" y="263"/>
                  <a:pt x="19" y="264"/>
                  <a:pt x="14" y="267"/>
                </a:cubicBezTo>
                <a:cubicBezTo>
                  <a:pt x="14" y="267"/>
                  <a:pt x="14" y="267"/>
                  <a:pt x="14" y="267"/>
                </a:cubicBezTo>
                <a:cubicBezTo>
                  <a:pt x="5" y="272"/>
                  <a:pt x="0" y="282"/>
                  <a:pt x="0" y="292"/>
                </a:cubicBezTo>
                <a:cubicBezTo>
                  <a:pt x="0" y="297"/>
                  <a:pt x="1" y="302"/>
                  <a:pt x="4" y="307"/>
                </a:cubicBezTo>
                <a:cubicBezTo>
                  <a:pt x="9" y="316"/>
                  <a:pt x="19" y="322"/>
                  <a:pt x="29" y="322"/>
                </a:cubicBezTo>
                <a:cubicBezTo>
                  <a:pt x="29" y="322"/>
                  <a:pt x="29" y="322"/>
                  <a:pt x="29" y="322"/>
                </a:cubicBezTo>
                <a:cubicBezTo>
                  <a:pt x="34" y="322"/>
                  <a:pt x="39" y="320"/>
                  <a:pt x="44" y="318"/>
                </a:cubicBezTo>
                <a:cubicBezTo>
                  <a:pt x="53" y="312"/>
                  <a:pt x="58" y="302"/>
                  <a:pt x="58" y="292"/>
                </a:cubicBezTo>
                <a:cubicBezTo>
                  <a:pt x="58" y="290"/>
                  <a:pt x="58" y="287"/>
                  <a:pt x="57" y="285"/>
                </a:cubicBezTo>
                <a:cubicBezTo>
                  <a:pt x="134" y="239"/>
                  <a:pt x="134" y="239"/>
                  <a:pt x="134" y="239"/>
                </a:cubicBezTo>
                <a:cubicBezTo>
                  <a:pt x="143" y="252"/>
                  <a:pt x="157" y="260"/>
                  <a:pt x="173" y="263"/>
                </a:cubicBezTo>
                <a:cubicBezTo>
                  <a:pt x="173" y="352"/>
                  <a:pt x="173" y="352"/>
                  <a:pt x="173" y="352"/>
                </a:cubicBezTo>
                <a:cubicBezTo>
                  <a:pt x="160" y="355"/>
                  <a:pt x="151" y="366"/>
                  <a:pt x="151" y="380"/>
                </a:cubicBezTo>
                <a:cubicBezTo>
                  <a:pt x="151" y="396"/>
                  <a:pt x="165" y="409"/>
                  <a:pt x="181" y="409"/>
                </a:cubicBezTo>
                <a:cubicBezTo>
                  <a:pt x="197" y="409"/>
                  <a:pt x="210" y="396"/>
                  <a:pt x="210" y="380"/>
                </a:cubicBezTo>
                <a:cubicBezTo>
                  <a:pt x="210" y="366"/>
                  <a:pt x="201" y="355"/>
                  <a:pt x="189" y="352"/>
                </a:cubicBezTo>
                <a:cubicBezTo>
                  <a:pt x="189" y="263"/>
                  <a:pt x="189" y="263"/>
                  <a:pt x="189" y="263"/>
                </a:cubicBezTo>
                <a:cubicBezTo>
                  <a:pt x="205" y="260"/>
                  <a:pt x="219" y="252"/>
                  <a:pt x="228" y="239"/>
                </a:cubicBezTo>
                <a:cubicBezTo>
                  <a:pt x="304" y="285"/>
                  <a:pt x="304" y="285"/>
                  <a:pt x="304" y="285"/>
                </a:cubicBezTo>
                <a:cubicBezTo>
                  <a:pt x="304" y="287"/>
                  <a:pt x="303" y="290"/>
                  <a:pt x="303" y="292"/>
                </a:cubicBezTo>
                <a:cubicBezTo>
                  <a:pt x="303" y="302"/>
                  <a:pt x="308" y="312"/>
                  <a:pt x="318" y="318"/>
                </a:cubicBezTo>
                <a:cubicBezTo>
                  <a:pt x="322" y="320"/>
                  <a:pt x="328" y="322"/>
                  <a:pt x="333" y="322"/>
                </a:cubicBezTo>
                <a:cubicBezTo>
                  <a:pt x="333" y="322"/>
                  <a:pt x="333" y="322"/>
                  <a:pt x="333" y="322"/>
                </a:cubicBezTo>
                <a:cubicBezTo>
                  <a:pt x="343" y="322"/>
                  <a:pt x="352" y="316"/>
                  <a:pt x="358" y="307"/>
                </a:cubicBezTo>
                <a:cubicBezTo>
                  <a:pt x="361" y="302"/>
                  <a:pt x="362" y="297"/>
                  <a:pt x="362" y="292"/>
                </a:cubicBezTo>
                <a:cubicBezTo>
                  <a:pt x="362" y="282"/>
                  <a:pt x="357" y="272"/>
                  <a:pt x="347" y="267"/>
                </a:cubicBezTo>
                <a:close/>
                <a:moveTo>
                  <a:pt x="167" y="29"/>
                </a:moveTo>
                <a:cubicBezTo>
                  <a:pt x="167" y="22"/>
                  <a:pt x="173" y="16"/>
                  <a:pt x="181" y="16"/>
                </a:cubicBezTo>
                <a:cubicBezTo>
                  <a:pt x="188" y="16"/>
                  <a:pt x="194" y="22"/>
                  <a:pt x="194" y="29"/>
                </a:cubicBezTo>
                <a:cubicBezTo>
                  <a:pt x="194" y="29"/>
                  <a:pt x="194" y="29"/>
                  <a:pt x="194" y="29"/>
                </a:cubicBezTo>
                <a:cubicBezTo>
                  <a:pt x="194" y="37"/>
                  <a:pt x="188" y="43"/>
                  <a:pt x="181" y="43"/>
                </a:cubicBezTo>
                <a:cubicBezTo>
                  <a:pt x="173" y="43"/>
                  <a:pt x="167" y="37"/>
                  <a:pt x="167" y="29"/>
                </a:cubicBezTo>
                <a:close/>
                <a:moveTo>
                  <a:pt x="41" y="124"/>
                </a:moveTo>
                <a:cubicBezTo>
                  <a:pt x="38" y="128"/>
                  <a:pt x="34" y="130"/>
                  <a:pt x="29" y="130"/>
                </a:cubicBezTo>
                <a:cubicBezTo>
                  <a:pt x="27" y="130"/>
                  <a:pt x="24" y="130"/>
                  <a:pt x="22" y="129"/>
                </a:cubicBezTo>
                <a:cubicBezTo>
                  <a:pt x="18" y="126"/>
                  <a:pt x="16" y="122"/>
                  <a:pt x="16" y="117"/>
                </a:cubicBezTo>
                <a:cubicBezTo>
                  <a:pt x="16" y="115"/>
                  <a:pt x="16" y="112"/>
                  <a:pt x="17" y="110"/>
                </a:cubicBezTo>
                <a:cubicBezTo>
                  <a:pt x="20" y="106"/>
                  <a:pt x="24" y="104"/>
                  <a:pt x="29" y="104"/>
                </a:cubicBezTo>
                <a:cubicBezTo>
                  <a:pt x="31" y="104"/>
                  <a:pt x="34" y="104"/>
                  <a:pt x="36" y="105"/>
                </a:cubicBezTo>
                <a:cubicBezTo>
                  <a:pt x="40" y="108"/>
                  <a:pt x="42" y="112"/>
                  <a:pt x="42" y="117"/>
                </a:cubicBezTo>
                <a:cubicBezTo>
                  <a:pt x="42" y="119"/>
                  <a:pt x="42" y="122"/>
                  <a:pt x="41" y="124"/>
                </a:cubicBezTo>
                <a:close/>
                <a:moveTo>
                  <a:pt x="36" y="304"/>
                </a:moveTo>
                <a:cubicBezTo>
                  <a:pt x="34" y="305"/>
                  <a:pt x="31" y="306"/>
                  <a:pt x="29" y="306"/>
                </a:cubicBezTo>
                <a:cubicBezTo>
                  <a:pt x="24" y="306"/>
                  <a:pt x="20" y="303"/>
                  <a:pt x="18" y="299"/>
                </a:cubicBezTo>
                <a:cubicBezTo>
                  <a:pt x="16" y="297"/>
                  <a:pt x="16" y="294"/>
                  <a:pt x="16" y="292"/>
                </a:cubicBezTo>
                <a:cubicBezTo>
                  <a:pt x="16" y="288"/>
                  <a:pt x="18" y="283"/>
                  <a:pt x="22" y="281"/>
                </a:cubicBezTo>
                <a:cubicBezTo>
                  <a:pt x="22" y="281"/>
                  <a:pt x="22" y="281"/>
                  <a:pt x="22" y="281"/>
                </a:cubicBezTo>
                <a:cubicBezTo>
                  <a:pt x="25" y="279"/>
                  <a:pt x="27" y="279"/>
                  <a:pt x="29" y="279"/>
                </a:cubicBezTo>
                <a:cubicBezTo>
                  <a:pt x="34" y="279"/>
                  <a:pt x="38" y="281"/>
                  <a:pt x="41" y="286"/>
                </a:cubicBezTo>
                <a:cubicBezTo>
                  <a:pt x="42" y="288"/>
                  <a:pt x="42" y="290"/>
                  <a:pt x="42" y="292"/>
                </a:cubicBezTo>
                <a:cubicBezTo>
                  <a:pt x="42" y="297"/>
                  <a:pt x="40" y="301"/>
                  <a:pt x="36" y="304"/>
                </a:cubicBezTo>
                <a:close/>
                <a:moveTo>
                  <a:pt x="194" y="380"/>
                </a:moveTo>
                <a:cubicBezTo>
                  <a:pt x="194" y="387"/>
                  <a:pt x="188" y="393"/>
                  <a:pt x="181" y="393"/>
                </a:cubicBezTo>
                <a:cubicBezTo>
                  <a:pt x="173" y="393"/>
                  <a:pt x="167" y="387"/>
                  <a:pt x="167" y="380"/>
                </a:cubicBezTo>
                <a:cubicBezTo>
                  <a:pt x="167" y="372"/>
                  <a:pt x="173" y="367"/>
                  <a:pt x="181" y="366"/>
                </a:cubicBezTo>
                <a:cubicBezTo>
                  <a:pt x="188" y="367"/>
                  <a:pt x="194" y="372"/>
                  <a:pt x="194" y="380"/>
                </a:cubicBezTo>
                <a:close/>
                <a:moveTo>
                  <a:pt x="344" y="299"/>
                </a:moveTo>
                <a:cubicBezTo>
                  <a:pt x="342" y="303"/>
                  <a:pt x="337" y="306"/>
                  <a:pt x="333" y="306"/>
                </a:cubicBezTo>
                <a:cubicBezTo>
                  <a:pt x="330" y="306"/>
                  <a:pt x="328" y="305"/>
                  <a:pt x="326" y="304"/>
                </a:cubicBezTo>
                <a:cubicBezTo>
                  <a:pt x="322" y="301"/>
                  <a:pt x="319" y="297"/>
                  <a:pt x="319" y="292"/>
                </a:cubicBezTo>
                <a:cubicBezTo>
                  <a:pt x="319" y="290"/>
                  <a:pt x="320" y="288"/>
                  <a:pt x="321" y="286"/>
                </a:cubicBezTo>
                <a:cubicBezTo>
                  <a:pt x="323" y="281"/>
                  <a:pt x="328" y="279"/>
                  <a:pt x="333" y="279"/>
                </a:cubicBezTo>
                <a:cubicBezTo>
                  <a:pt x="335" y="279"/>
                  <a:pt x="337" y="279"/>
                  <a:pt x="339" y="281"/>
                </a:cubicBezTo>
                <a:cubicBezTo>
                  <a:pt x="343" y="283"/>
                  <a:pt x="346" y="288"/>
                  <a:pt x="346" y="292"/>
                </a:cubicBezTo>
                <a:cubicBezTo>
                  <a:pt x="346" y="294"/>
                  <a:pt x="345" y="297"/>
                  <a:pt x="344" y="29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58585A"/>
              </a:solidFill>
              <a:latin typeface="Arial" pitchFamily="34" charset="0"/>
            </a:endParaRPr>
          </a:p>
        </p:txBody>
      </p:sp>
      <p:sp>
        <p:nvSpPr>
          <p:cNvPr id="57" name="Text Box 1"/>
          <p:cNvSpPr txBox="1">
            <a:spLocks noChangeArrowheads="1"/>
          </p:cNvSpPr>
          <p:nvPr/>
        </p:nvSpPr>
        <p:spPr bwMode="auto">
          <a:xfrm>
            <a:off x="145737" y="900036"/>
            <a:ext cx="8727219" cy="47522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72000" tIns="0" rIns="72000" bIns="0" anchor="ctr"/>
          <a:lstStyle>
            <a:lvl1pPr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ts val="1600"/>
              </a:spcBef>
              <a:spcAft>
                <a:spcPct val="0"/>
              </a:spcAft>
              <a:buClr>
                <a:srgbClr val="89BA17"/>
              </a:buClr>
            </a:pPr>
            <a:r>
              <a:rPr lang="en-US" sz="1600" dirty="0">
                <a:solidFill>
                  <a:srgbClr val="FFFFFF"/>
                </a:solidFill>
                <a:cs typeface="Arial" pitchFamily="34" charset="0"/>
              </a:rPr>
              <a:t>You must save macro output in OUTPATH variable to remove all hardcode Output Paths  as shown in below code:</a:t>
            </a:r>
          </a:p>
          <a:p>
            <a:pPr lvl="1" indent="0" fontAlgn="base">
              <a:spcBef>
                <a:spcPts val="1600"/>
              </a:spcBef>
              <a:spcAft>
                <a:spcPct val="0"/>
              </a:spcAft>
              <a:buClr>
                <a:srgbClr val="89BA17"/>
              </a:buClr>
            </a:pPr>
            <a:r>
              <a:rPr lang="en-US" sz="1600" dirty="0">
                <a:solidFill>
                  <a:srgbClr val="FFFFFF"/>
                </a:solidFill>
                <a:cs typeface="Arial" pitchFamily="34" charset="0"/>
              </a:rPr>
              <a:t>Old code:</a:t>
            </a:r>
          </a:p>
          <a:p>
            <a:pPr marL="1028700" lvl="1" fontAlgn="base">
              <a:spcBef>
                <a:spcPts val="1600"/>
              </a:spcBef>
              <a:spcAft>
                <a:spcPct val="0"/>
              </a:spcAft>
              <a:buClr>
                <a:srgbClr val="89BA17"/>
              </a:buClr>
              <a:buFont typeface="Wingdings" panose="05000000000000000000" pitchFamily="2" charset="2"/>
              <a:buChar char="Ø"/>
            </a:pPr>
            <a:endParaRPr lang="en-US" sz="1600" dirty="0">
              <a:solidFill>
                <a:srgbClr val="FFFFFF"/>
              </a:solidFill>
              <a:cs typeface="Arial" pitchFamily="34" charset="0"/>
            </a:endParaRPr>
          </a:p>
          <a:p>
            <a:pPr marL="1028700" lvl="1" fontAlgn="base">
              <a:spcBef>
                <a:spcPts val="1600"/>
              </a:spcBef>
              <a:spcAft>
                <a:spcPct val="0"/>
              </a:spcAft>
              <a:buClr>
                <a:srgbClr val="89BA17"/>
              </a:buClr>
              <a:buFont typeface="Wingdings" panose="05000000000000000000" pitchFamily="2" charset="2"/>
              <a:buChar char="Ø"/>
            </a:pPr>
            <a:endParaRPr lang="en-US" sz="1600" dirty="0">
              <a:solidFill>
                <a:srgbClr val="FFFFFF"/>
              </a:solidFill>
              <a:cs typeface="Arial" pitchFamily="34" charset="0"/>
            </a:endParaRPr>
          </a:p>
          <a:p>
            <a:pPr marL="1028700" lvl="1" fontAlgn="base">
              <a:spcBef>
                <a:spcPts val="1600"/>
              </a:spcBef>
              <a:spcAft>
                <a:spcPct val="0"/>
              </a:spcAft>
              <a:buClr>
                <a:srgbClr val="89BA17"/>
              </a:buClr>
              <a:buFont typeface="Wingdings" panose="05000000000000000000" pitchFamily="2" charset="2"/>
              <a:buChar char="Ø"/>
            </a:pPr>
            <a:endParaRPr lang="en-US" sz="1600" dirty="0">
              <a:solidFill>
                <a:srgbClr val="FFFFFF"/>
              </a:solidFill>
              <a:cs typeface="Arial" pitchFamily="34" charset="0"/>
            </a:endParaRPr>
          </a:p>
          <a:p>
            <a:pPr marL="1200150" lvl="2" indent="0" fontAlgn="base">
              <a:spcBef>
                <a:spcPts val="1600"/>
              </a:spcBef>
              <a:spcAft>
                <a:spcPct val="0"/>
              </a:spcAft>
              <a:buClr>
                <a:srgbClr val="89BA17"/>
              </a:buClr>
            </a:pPr>
            <a:endParaRPr lang="en-US" sz="1600" dirty="0">
              <a:solidFill>
                <a:srgbClr val="FFFFFF"/>
              </a:solidFill>
              <a:cs typeface="Arial" pitchFamily="34" charset="0"/>
            </a:endParaRPr>
          </a:p>
          <a:p>
            <a:pPr lvl="1" indent="0" fontAlgn="base">
              <a:spcBef>
                <a:spcPts val="1600"/>
              </a:spcBef>
              <a:spcAft>
                <a:spcPct val="0"/>
              </a:spcAft>
              <a:buClr>
                <a:srgbClr val="89BA17"/>
              </a:buClr>
            </a:pPr>
            <a:r>
              <a:rPr lang="en-US" sz="1600" dirty="0">
                <a:solidFill>
                  <a:srgbClr val="FFFFFF"/>
                </a:solidFill>
                <a:cs typeface="Arial" pitchFamily="34" charset="0"/>
              </a:rPr>
              <a:t>New code:</a:t>
            </a:r>
          </a:p>
          <a:p>
            <a:pPr fontAlgn="base">
              <a:spcBef>
                <a:spcPts val="1600"/>
              </a:spcBef>
              <a:spcAft>
                <a:spcPct val="0"/>
              </a:spcAft>
              <a:buClr>
                <a:srgbClr val="89BA17"/>
              </a:buClr>
            </a:pPr>
            <a:endParaRPr lang="en-US" sz="1600" dirty="0">
              <a:solidFill>
                <a:srgbClr val="FFFFFF"/>
              </a:solidFill>
              <a:cs typeface="Arial" pitchFamily="34" charset="0"/>
            </a:endParaRPr>
          </a:p>
          <a:p>
            <a:pPr lvl="1" indent="0" fontAlgn="base">
              <a:spcBef>
                <a:spcPts val="1600"/>
              </a:spcBef>
              <a:spcAft>
                <a:spcPct val="0"/>
              </a:spcAft>
              <a:buClr>
                <a:srgbClr val="89BA17"/>
              </a:buClr>
            </a:pPr>
            <a:endParaRPr lang="en-US" sz="1600" dirty="0">
              <a:solidFill>
                <a:srgbClr val="FFFFFF"/>
              </a:solidFill>
              <a:cs typeface="Arial" pitchFamily="34" charset="0"/>
            </a:endParaRPr>
          </a:p>
          <a:p>
            <a:pPr lvl="1" indent="0" fontAlgn="base">
              <a:spcBef>
                <a:spcPts val="1600"/>
              </a:spcBef>
              <a:spcAft>
                <a:spcPct val="0"/>
              </a:spcAft>
              <a:buClr>
                <a:srgbClr val="89BA17"/>
              </a:buClr>
            </a:pPr>
            <a:endParaRPr lang="en-US" sz="1600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58" name="Picture 5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6403" y="2115631"/>
            <a:ext cx="10553412" cy="1115454"/>
          </a:xfrm>
          <a:prstGeom prst="rect">
            <a:avLst/>
          </a:prstGeom>
        </p:spPr>
      </p:pic>
      <p:sp>
        <p:nvSpPr>
          <p:cNvPr id="59" name="Rectangle 58"/>
          <p:cNvSpPr/>
          <p:nvPr/>
        </p:nvSpPr>
        <p:spPr bwMode="auto">
          <a:xfrm>
            <a:off x="3957403" y="2143115"/>
            <a:ext cx="6670623" cy="378781"/>
          </a:xfrm>
          <a:prstGeom prst="rect">
            <a:avLst/>
          </a:prstGeom>
          <a:solidFill>
            <a:srgbClr val="FF0000">
              <a:alpha val="0"/>
            </a:srgbClr>
          </a:solidFill>
          <a:ln w="254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45720" rIns="7200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US" sz="2000">
              <a:solidFill>
                <a:srgbClr val="58585A"/>
              </a:solidFill>
              <a:latin typeface="Arial" charset="0"/>
            </a:endParaRPr>
          </a:p>
        </p:txBody>
      </p:sp>
      <p:pic>
        <p:nvPicPr>
          <p:cNvPr id="60" name="Picture 5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6403" y="4414421"/>
            <a:ext cx="10552176" cy="1083467"/>
          </a:xfrm>
          <a:prstGeom prst="rect">
            <a:avLst/>
          </a:prstGeom>
        </p:spPr>
      </p:pic>
      <p:sp>
        <p:nvSpPr>
          <p:cNvPr id="61" name="Rectangle 60"/>
          <p:cNvSpPr/>
          <p:nvPr/>
        </p:nvSpPr>
        <p:spPr bwMode="auto">
          <a:xfrm>
            <a:off x="4292050" y="4412887"/>
            <a:ext cx="6440907" cy="383965"/>
          </a:xfrm>
          <a:prstGeom prst="rect">
            <a:avLst/>
          </a:prstGeom>
          <a:solidFill>
            <a:srgbClr val="00B050">
              <a:alpha val="0"/>
            </a:srgbClr>
          </a:solidFill>
          <a:ln w="25400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45720" rIns="7200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US" sz="2000">
              <a:solidFill>
                <a:srgbClr val="58585A"/>
              </a:solidFill>
              <a:latin typeface="Arial" charset="0"/>
            </a:endParaRPr>
          </a:p>
        </p:txBody>
      </p:sp>
      <p:pic>
        <p:nvPicPr>
          <p:cNvPr id="62" name="Picture 11">
            <a:extLst/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22391" y="476250"/>
            <a:ext cx="190184" cy="256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69364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A5D622B-A492-4494-872F-86FEB509D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5584" y="129682"/>
            <a:ext cx="11436686" cy="1081088"/>
          </a:xfrm>
        </p:spPr>
        <p:txBody>
          <a:bodyPr/>
          <a:lstStyle/>
          <a:p>
            <a:pPr algn="ctr"/>
            <a:r>
              <a:rPr lang="en-US" sz="4400" dirty="0">
                <a:solidFill>
                  <a:schemeClr val="bg1"/>
                </a:solidFill>
              </a:rPr>
              <a:t>Required Macro Changes if Closing Macro File	</a:t>
            </a:r>
          </a:p>
        </p:txBody>
      </p:sp>
      <p:sp>
        <p:nvSpPr>
          <p:cNvPr id="40" name="Text Box 1"/>
          <p:cNvSpPr txBox="1">
            <a:spLocks noChangeArrowheads="1"/>
          </p:cNvSpPr>
          <p:nvPr/>
        </p:nvSpPr>
        <p:spPr bwMode="auto">
          <a:xfrm>
            <a:off x="270456" y="1364104"/>
            <a:ext cx="11511814" cy="23534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72000" tIns="0" rIns="72000" bIns="0" anchor="ctr"/>
          <a:lstStyle>
            <a:lvl1pPr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>
              <a:spcBef>
                <a:spcPts val="1600"/>
              </a:spcBef>
              <a:buClr>
                <a:srgbClr val="89BA17"/>
              </a:buClr>
            </a:pPr>
            <a:endParaRPr lang="en-US" sz="2000" dirty="0">
              <a:solidFill>
                <a:schemeClr val="bg1"/>
              </a:solidFill>
              <a:cs typeface="Arial" pitchFamily="34" charset="0"/>
            </a:endParaRPr>
          </a:p>
          <a:p>
            <a:pPr marL="285750" indent="-285750" algn="l">
              <a:spcBef>
                <a:spcPts val="1600"/>
              </a:spcBef>
              <a:buClr>
                <a:srgbClr val="89BA17"/>
              </a:buClr>
              <a:buFont typeface="Wingdings" panose="05000000000000000000" pitchFamily="2" charset="2"/>
              <a:buChar char="Ø"/>
            </a:pPr>
            <a:endParaRPr lang="en-US" sz="2000" dirty="0">
              <a:solidFill>
                <a:schemeClr val="bg1"/>
              </a:solidFill>
              <a:cs typeface="Arial" pitchFamily="34" charset="0"/>
            </a:endParaRPr>
          </a:p>
          <a:p>
            <a:pPr algn="l">
              <a:spcBef>
                <a:spcPts val="1600"/>
              </a:spcBef>
              <a:buClr>
                <a:srgbClr val="89BA17"/>
              </a:buClr>
            </a:pPr>
            <a:r>
              <a:rPr lang="en-US" sz="2000" dirty="0">
                <a:solidFill>
                  <a:schemeClr val="bg1"/>
                </a:solidFill>
                <a:cs typeface="Arial" pitchFamily="34" charset="0"/>
              </a:rPr>
              <a:t>If you are closing your macro file programmatically at last step of macro then comment or remove it as in below example:</a:t>
            </a:r>
          </a:p>
          <a:p>
            <a:pPr marL="285750" indent="-285750" algn="l">
              <a:spcBef>
                <a:spcPts val="1600"/>
              </a:spcBef>
              <a:buClr>
                <a:srgbClr val="89BA17"/>
              </a:buClr>
              <a:buFont typeface="Wingdings" panose="05000000000000000000" pitchFamily="2" charset="2"/>
              <a:buChar char="Ø"/>
            </a:pPr>
            <a:endParaRPr lang="en-US" sz="2000" dirty="0">
              <a:solidFill>
                <a:schemeClr val="bg1"/>
              </a:solidFill>
              <a:cs typeface="Arial" pitchFamily="34" charset="0"/>
            </a:endParaRPr>
          </a:p>
          <a:p>
            <a:pPr algn="l">
              <a:spcBef>
                <a:spcPts val="1600"/>
              </a:spcBef>
              <a:buClr>
                <a:srgbClr val="89BA17"/>
              </a:buClr>
            </a:pPr>
            <a:endParaRPr lang="en-US" sz="2000" dirty="0">
              <a:solidFill>
                <a:schemeClr val="bg1"/>
              </a:solidFill>
              <a:cs typeface="Arial" pitchFamily="34" charset="0"/>
            </a:endParaRPr>
          </a:p>
          <a:p>
            <a:pPr lvl="1" indent="0" algn="l">
              <a:spcBef>
                <a:spcPts val="1600"/>
              </a:spcBef>
              <a:buClr>
                <a:srgbClr val="89BA17"/>
              </a:buClr>
            </a:pPr>
            <a:endParaRPr lang="en-US" sz="2000" dirty="0">
              <a:solidFill>
                <a:schemeClr val="bg1"/>
              </a:solidFill>
              <a:cs typeface="Arial" pitchFamily="34" charset="0"/>
            </a:endParaRPr>
          </a:p>
          <a:p>
            <a:pPr lvl="1" indent="0" algn="l">
              <a:spcBef>
                <a:spcPts val="1600"/>
              </a:spcBef>
              <a:buClr>
                <a:srgbClr val="89BA17"/>
              </a:buClr>
            </a:pPr>
            <a:endParaRPr lang="en-US" sz="2000" dirty="0">
              <a:solidFill>
                <a:schemeClr val="bg1"/>
              </a:solidFill>
              <a:cs typeface="Arial" pitchFamily="34" charset="0"/>
            </a:endParaRPr>
          </a:p>
        </p:txBody>
      </p:sp>
      <p:pic>
        <p:nvPicPr>
          <p:cNvPr id="41" name="Picture 4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5584" y="3139996"/>
            <a:ext cx="9757786" cy="434300"/>
          </a:xfrm>
          <a:prstGeom prst="rect">
            <a:avLst/>
          </a:prstGeom>
        </p:spPr>
      </p:pic>
      <p:pic>
        <p:nvPicPr>
          <p:cNvPr id="42" name="Picture 11">
            <a:extLst/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22391" y="476250"/>
            <a:ext cx="190184" cy="256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282543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A5D622B-A492-4494-872F-86FEB509D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5584" y="129682"/>
            <a:ext cx="11436686" cy="1081088"/>
          </a:xfrm>
        </p:spPr>
        <p:txBody>
          <a:bodyPr/>
          <a:lstStyle/>
          <a:p>
            <a:pPr algn="ctr"/>
            <a:r>
              <a:rPr lang="en-US" sz="4400" dirty="0">
                <a:solidFill>
                  <a:schemeClr val="bg1"/>
                </a:solidFill>
              </a:rPr>
              <a:t>Unit Testing of Macro After Changes</a:t>
            </a:r>
          </a:p>
        </p:txBody>
      </p:sp>
      <p:sp>
        <p:nvSpPr>
          <p:cNvPr id="3" name="Text Box 1"/>
          <p:cNvSpPr txBox="1">
            <a:spLocks noChangeArrowheads="1"/>
          </p:cNvSpPr>
          <p:nvPr/>
        </p:nvSpPr>
        <p:spPr bwMode="auto">
          <a:xfrm>
            <a:off x="270456" y="979108"/>
            <a:ext cx="11271970" cy="31281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72000" tIns="0" rIns="72000" bIns="0" anchor="ctr"/>
          <a:lstStyle>
            <a:lvl1pPr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>
              <a:spcBef>
                <a:spcPts val="1600"/>
              </a:spcBef>
              <a:buClr>
                <a:srgbClr val="89BA17"/>
              </a:buClr>
            </a:pPr>
            <a:r>
              <a:rPr lang="en-US" sz="1600" dirty="0">
                <a:solidFill>
                  <a:schemeClr val="bg1"/>
                </a:solidFill>
                <a:cs typeface="Arial" pitchFamily="34" charset="0"/>
              </a:rPr>
              <a:t>Before sharing your macro code to ISF-RPA team, do unit testing of your macro for desired results. For unit testing use below steps:</a:t>
            </a:r>
          </a:p>
          <a:p>
            <a:pPr marL="1028700" lvl="1" algn="l">
              <a:spcBef>
                <a:spcPts val="1600"/>
              </a:spcBef>
              <a:buClr>
                <a:srgbClr val="89BA17"/>
              </a:buClr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bg1"/>
                </a:solidFill>
                <a:cs typeface="Arial" pitchFamily="34" charset="0"/>
              </a:rPr>
              <a:t>Step1- Create a new module.</a:t>
            </a:r>
          </a:p>
          <a:p>
            <a:pPr marL="1028700" lvl="1" algn="l">
              <a:spcBef>
                <a:spcPts val="1600"/>
              </a:spcBef>
              <a:buClr>
                <a:srgbClr val="89BA17"/>
              </a:buClr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bg1"/>
                </a:solidFill>
                <a:cs typeface="Arial" pitchFamily="34" charset="0"/>
              </a:rPr>
              <a:t>Step2- Create a new method in this module and call your main method from this this new method.</a:t>
            </a:r>
          </a:p>
          <a:p>
            <a:pPr marL="1028700" lvl="1" algn="l">
              <a:spcBef>
                <a:spcPts val="1600"/>
              </a:spcBef>
              <a:buClr>
                <a:srgbClr val="89BA17"/>
              </a:buClr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bg1"/>
                </a:solidFill>
                <a:cs typeface="Arial" pitchFamily="34" charset="0"/>
              </a:rPr>
              <a:t>Step3- Pass two parameters when calling your main method.</a:t>
            </a:r>
          </a:p>
          <a:p>
            <a:pPr marL="1028700" lvl="1" algn="l">
              <a:spcBef>
                <a:spcPts val="1600"/>
              </a:spcBef>
              <a:buClr>
                <a:srgbClr val="89BA17"/>
              </a:buClr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bg1"/>
                </a:solidFill>
                <a:cs typeface="Arial" pitchFamily="34" charset="0"/>
              </a:rPr>
              <a:t>Step4- After successful macro execution, please check your desired output in OUTPATH folder.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3582" y="4107306"/>
            <a:ext cx="11026774" cy="2150143"/>
          </a:xfrm>
          <a:prstGeom prst="rect">
            <a:avLst/>
          </a:prstGeom>
        </p:spPr>
      </p:pic>
      <p:pic>
        <p:nvPicPr>
          <p:cNvPr id="5" name="Picture 11">
            <a:extLst/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22391" y="476250"/>
            <a:ext cx="190184" cy="256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633553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esentationTemplate2017">
  <a:themeElements>
    <a:clrScheme name="Custom 6">
      <a:dk1>
        <a:srgbClr val="181818"/>
      </a:dk1>
      <a:lt1>
        <a:srgbClr val="FFFFFF"/>
      </a:lt1>
      <a:dk2>
        <a:srgbClr val="181818"/>
      </a:dk2>
      <a:lt2>
        <a:srgbClr val="E0E0E0"/>
      </a:lt2>
      <a:accent1>
        <a:srgbClr val="0082F0"/>
      </a:accent1>
      <a:accent2>
        <a:srgbClr val="0FC373"/>
      </a:accent2>
      <a:accent3>
        <a:srgbClr val="AF78D2"/>
      </a:accent3>
      <a:accent4>
        <a:srgbClr val="FAD22D"/>
      </a:accent4>
      <a:accent5>
        <a:srgbClr val="FF8C0A"/>
      </a:accent5>
      <a:accent6>
        <a:srgbClr val="FF3232"/>
      </a:accent6>
      <a:hlink>
        <a:srgbClr val="0A14D2"/>
      </a:hlink>
      <a:folHlink>
        <a:srgbClr val="040969"/>
      </a:folHlink>
    </a:clrScheme>
    <a:fontScheme name="Ericsson Brand 2.0">
      <a:majorFont>
        <a:latin typeface="Ericsson Hilda Light"/>
        <a:ea typeface=""/>
        <a:cs typeface=""/>
      </a:majorFont>
      <a:minorFont>
        <a:latin typeface="Ericsson Hild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</a:spDef>
    <a:lnDef>
      <a:spPr bwMode="auto">
        <a:solidFill>
          <a:schemeClr val="accent1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/>
        </a:ln>
        <a:effectLst/>
      </a:spPr>
      <a:bodyPr/>
      <a:lstStyle/>
    </a:lnDef>
    <a:txDef>
      <a:spPr bwMode="auto">
        <a:noFill/>
        <a:ln w="9525">
          <a:noFill/>
          <a:miter lim="800000"/>
          <a:headEnd/>
          <a:tailEnd/>
        </a:ln>
      </a:spPr>
      <a:bodyPr vert="horz" wrap="square" lIns="72000" tIns="36000" rIns="0" bIns="0" numCol="1" rtlCol="0" anchor="t" anchorCtr="0" compatLnSpc="1">
        <a:prstTxWarp prst="textNoShape">
          <a:avLst/>
        </a:prstTxWarp>
        <a:spAutoFit/>
      </a:bodyPr>
      <a:lstStyle>
        <a:defPPr marL="344488" indent="-344488">
          <a:buClr>
            <a:schemeClr val="tx1"/>
          </a:buClr>
          <a:buFont typeface="Ericsson Hilda Light" panose="00000400000000000000" pitchFamily="2" charset="0"/>
          <a:buChar char="—"/>
          <a:defRPr sz="2000" dirty="0" err="1" smtClean="0"/>
        </a:defPPr>
      </a:lstStyle>
    </a:txDef>
  </a:objectDefaults>
  <a:extraClrSchemeLst>
    <a:extraClrScheme>
      <a:clrScheme name="Landscape2009 1">
        <a:dk1>
          <a:srgbClr val="58585A"/>
        </a:dk1>
        <a:lt1>
          <a:srgbClr val="FFFFFF"/>
        </a:lt1>
        <a:dk2>
          <a:srgbClr val="00285E"/>
        </a:dk2>
        <a:lt2>
          <a:srgbClr val="B1B3B4"/>
        </a:lt2>
        <a:accent1>
          <a:srgbClr val="89BA17"/>
        </a:accent1>
        <a:accent2>
          <a:srgbClr val="F08A00"/>
        </a:accent2>
        <a:accent3>
          <a:srgbClr val="FFFFFF"/>
        </a:accent3>
        <a:accent4>
          <a:srgbClr val="4A4A4C"/>
        </a:accent4>
        <a:accent5>
          <a:srgbClr val="C4D9AB"/>
        </a:accent5>
        <a:accent6>
          <a:srgbClr val="D97D00"/>
        </a:accent6>
        <a:hlink>
          <a:srgbClr val="00A9D4"/>
        </a:hlink>
        <a:folHlink>
          <a:srgbClr val="00625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PT_Template_Early_Adopter_Beta_6.potx" id="{23309F28-07FE-4A4F-B22B-D909528E4804}" vid="{3F95330C-3735-4FC1-A35C-EA324CFEAFA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Ericsson Hilda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Ericsson Hilda"/>
        <a:font script="Hebr" typeface="Ericsson Hilda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Ericsson Hilda"/>
        <a:font script="Uigh" typeface="Microsoft Uighur"/>
        <a:font script="Geor" typeface="Sylfaen"/>
        <a:font script="Armn" typeface="Ericsson Hilda Light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Ericsson Hilda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Ericsson Hilda Light"/>
        <a:font script="Hebr" typeface="Ericsson Hilda Light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Ericsson Hilda Light"/>
        <a:font script="Uigh" typeface="Microsoft Uighur"/>
        <a:font script="Geor" typeface="Sylfaen"/>
        <a:font script="Armn" typeface="Ericsson Hilda Light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Ericsson Hilda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Ericsson Hilda"/>
        <a:font script="Hebr" typeface="Ericsson Hilda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Ericsson Hilda"/>
        <a:font script="Uigh" typeface="Microsoft Uighur"/>
        <a:font script="Geor" typeface="Sylfaen"/>
        <a:font script="Armn" typeface="Ericsson Hilda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Ericsson Hilda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Ericsson Hilda"/>
        <a:font script="Hebr" typeface="Ericsson Hilda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Ericsson Hilda"/>
        <a:font script="Uigh" typeface="Microsoft Uighur"/>
        <a:font script="Geor" typeface="Sylfaen"/>
        <a:font script="Armn" typeface="Ericsson Hilda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6B252E62CA3CED4699573C1A17FF6C39" ma:contentTypeVersion="4" ma:contentTypeDescription="Crear nuevo documento." ma:contentTypeScope="" ma:versionID="6da4b2763990d22fa0d2588a514bffae">
  <xsd:schema xmlns:xsd="http://www.w3.org/2001/XMLSchema" xmlns:xs="http://www.w3.org/2001/XMLSchema" xmlns:p="http://schemas.microsoft.com/office/2006/metadata/properties" xmlns:ns2="900d3850-65e1-49b7-8437-01c7e4f8516c" xmlns:ns3="84e64825-e996-42c7-a622-42dd28204c78" targetNamespace="http://schemas.microsoft.com/office/2006/metadata/properties" ma:root="true" ma:fieldsID="2727c0a02d83b071d7265a988bed8b6d" ns2:_="" ns3:_="">
    <xsd:import namespace="900d3850-65e1-49b7-8437-01c7e4f8516c"/>
    <xsd:import namespace="84e64825-e996-42c7-a622-42dd28204c7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00d3850-65e1-49b7-8437-01c7e4f8516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e64825-e996-42c7-a622-42dd28204c78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Application xmlns="http://www.sap.com/cof/ao/powerpoint/application">
  <com.sap.ip.bi.pioneer>
    <Version>4</Version>
    <AAO_Revision>2.4.2.67253</AAO_Revision>
    <RefreshOnOpen>False</RefreshOnOpen>
    <PlanningModeSetToChangeMode>True</PlanningModeSetToChangeMode>
    <Cleaned>False</Cleaned>
    <ForcePromptOnInitialRefresh>False</ForcePromptOnInitialRefresh>
    <StorePromptsInDocument>True</StorePromptsInDocument>
    <MergeVariables>False</MergeVariables>
    <WorkingMode>Local</WorkingMode>
    <RefreshPlanningObjectsOnRefreshAll>True</RefreshPlanningObjectsOnRefreshAll>
    <Items/>
  </com.sap.ip.bi.pioneer>
</Application>
</file>

<file path=customXml/item4.xml><?xml version="1.0" encoding="utf-8"?>
<Application xmlns="http://www.sap.com/cof/powerpoint/application">
  <Version>2</Version>
  <Revision>2.4.2.67253</Revision>
</Application>
</file>

<file path=customXml/item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4D9FBF8-3BD9-44EC-A26D-F45FEF3C4586}">
  <ds:schemaRefs>
    <ds:schemaRef ds:uri="84e64825-e996-42c7-a622-42dd28204c78"/>
    <ds:schemaRef ds:uri="900d3850-65e1-49b7-8437-01c7e4f8516c"/>
    <ds:schemaRef ds:uri="http://www.w3.org/XML/1998/namespace"/>
    <ds:schemaRef ds:uri="http://purl.org/dc/dcmitype/"/>
    <ds:schemaRef ds:uri="http://schemas.microsoft.com/office/2006/documentManagement/types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09941F13-3938-4D7D-A10E-96070C8893D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00d3850-65e1-49b7-8437-01c7e4f8516c"/>
    <ds:schemaRef ds:uri="84e64825-e996-42c7-a622-42dd28204c7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A2491E7-1036-4E34-A345-46A81033224F}">
  <ds:schemaRefs>
    <ds:schemaRef ds:uri="http://www.sap.com/cof/ao/powerpoint/application"/>
  </ds:schemaRefs>
</ds:datastoreItem>
</file>

<file path=customXml/itemProps4.xml><?xml version="1.0" encoding="utf-8"?>
<ds:datastoreItem xmlns:ds="http://schemas.openxmlformats.org/officeDocument/2006/customXml" ds:itemID="{A5CA37E3-C8F5-4660-9ED2-FBD086CAA132}">
  <ds:schemaRefs>
    <ds:schemaRef ds:uri="http://www.sap.com/cof/powerpoint/application"/>
  </ds:schemaRefs>
</ds:datastoreItem>
</file>

<file path=customXml/itemProps5.xml><?xml version="1.0" encoding="utf-8"?>
<ds:datastoreItem xmlns:ds="http://schemas.openxmlformats.org/officeDocument/2006/customXml" ds:itemID="{EDF7B976-CC03-4237-B81B-DEE602FBDBF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967</TotalTime>
  <Words>1314</Words>
  <Application>Microsoft Office PowerPoint</Application>
  <PresentationFormat>Widescreen</PresentationFormat>
  <Paragraphs>240</Paragraphs>
  <Slides>23</Slides>
  <Notes>2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23</vt:i4>
      </vt:variant>
    </vt:vector>
  </HeadingPairs>
  <TitlesOfParts>
    <vt:vector size="31" baseType="lpstr">
      <vt:lpstr>Arial</vt:lpstr>
      <vt:lpstr>Ericsson Hilda</vt:lpstr>
      <vt:lpstr>Ericsson Hilda Light</vt:lpstr>
      <vt:lpstr>Wingdings</vt:lpstr>
      <vt:lpstr>PresentationTemplate2017</vt:lpstr>
      <vt:lpstr>think-cell Slide</vt:lpstr>
      <vt:lpstr>Worksheet</vt:lpstr>
      <vt:lpstr>Microsoft Excel Worksheet</vt:lpstr>
      <vt:lpstr>ISF Flow – BOT Integration  Macro/Python/Java</vt:lpstr>
      <vt:lpstr>ISF BOT Creation Flow</vt:lpstr>
      <vt:lpstr>ISF Automation Pre-requisites</vt:lpstr>
      <vt:lpstr>ISF Integration of Macro BOTs</vt:lpstr>
      <vt:lpstr>ISF BOT Guideline – Excel Macro</vt:lpstr>
      <vt:lpstr>Required Macro Changes for Input</vt:lpstr>
      <vt:lpstr>Required Macro Changes for Output</vt:lpstr>
      <vt:lpstr>Required Macro Changes if Closing Macro File </vt:lpstr>
      <vt:lpstr>Unit Testing of Macro After Changes</vt:lpstr>
      <vt:lpstr>ISF Integration of Python BOTs</vt:lpstr>
      <vt:lpstr>BOT Guideline – Python</vt:lpstr>
      <vt:lpstr>Required Python Changes for Input</vt:lpstr>
      <vt:lpstr>Required Python Changes for Output</vt:lpstr>
      <vt:lpstr>ISF Integration of Java BOTs</vt:lpstr>
      <vt:lpstr>Required Python Changes for Output</vt:lpstr>
      <vt:lpstr>Required Python Changes for Output</vt:lpstr>
      <vt:lpstr>Required Python Changes for Output</vt:lpstr>
      <vt:lpstr>Required Python Changes for Output</vt:lpstr>
      <vt:lpstr>Required Python Changes for Output</vt:lpstr>
      <vt:lpstr>Required Python Changes for Output</vt:lpstr>
      <vt:lpstr>Required Python Changes for Output</vt:lpstr>
      <vt:lpstr>PowerPoint Presentation</vt:lpstr>
      <vt:lpstr>ISF Test Environment – BOTs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SF Architecture</dc:title>
  <dc:creator>Parish Patni</dc:creator>
  <cp:keywords/>
  <dc:description>Rev PA1</dc:description>
  <cp:lastModifiedBy>Sanjay Kumar Mishra</cp:lastModifiedBy>
  <cp:revision>329</cp:revision>
  <dcterms:created xsi:type="dcterms:W3CDTF">2018-03-06T20:22:26Z</dcterms:created>
  <dcterms:modified xsi:type="dcterms:W3CDTF">2018-10-04T10:37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Type">
    <vt:lpwstr>Presentation2011</vt:lpwstr>
  </property>
  <property fmtid="{D5CDD505-2E9C-101B-9397-08002B2CF9AE}" pid="3" name="TemplateName">
    <vt:lpwstr>CXC 173 2731/1</vt:lpwstr>
  </property>
  <property fmtid="{D5CDD505-2E9C-101B-9397-08002B2CF9AE}" pid="4" name="TemplateVersion">
    <vt:lpwstr>R2A</vt:lpwstr>
  </property>
  <property fmtid="{D5CDD505-2E9C-101B-9397-08002B2CF9AE}" pid="5" name="EmbeddedFonts">
    <vt:bool>false</vt:bool>
  </property>
  <property fmtid="{D5CDD505-2E9C-101B-9397-08002B2CF9AE}" pid="6" name="PackageNo">
    <vt:lpwstr>LXA 119 603</vt:lpwstr>
  </property>
  <property fmtid="{D5CDD505-2E9C-101B-9397-08002B2CF9AE}" pid="7" name="PackageVersion">
    <vt:lpwstr>R3A</vt:lpwstr>
  </property>
  <property fmtid="{D5CDD505-2E9C-101B-9397-08002B2CF9AE}" pid="8" name="TemplateName2">
    <vt:lpwstr>CXC 173 2731/1</vt:lpwstr>
  </property>
  <property fmtid="{D5CDD505-2E9C-101B-9397-08002B2CF9AE}" pid="9" name="TemplateVersion2">
    <vt:lpwstr>R2A</vt:lpwstr>
  </property>
  <property fmtid="{D5CDD505-2E9C-101B-9397-08002B2CF9AE}" pid="10" name="UsedFont">
    <vt:lpwstr>Arial</vt:lpwstr>
  </property>
  <property fmtid="{D5CDD505-2E9C-101B-9397-08002B2CF9AE}" pid="11" name="x">
    <vt:lpwstr>1</vt:lpwstr>
  </property>
  <property fmtid="{D5CDD505-2E9C-101B-9397-08002B2CF9AE}" pid="12" name="SecurityClass">
    <vt:lpwstr>Ericsson Internal</vt:lpwstr>
  </property>
  <property fmtid="{D5CDD505-2E9C-101B-9397-08002B2CF9AE}" pid="13" name="txtConfLabel">
    <vt:lpwstr>Ericsson Internal</vt:lpwstr>
  </property>
  <property fmtid="{D5CDD505-2E9C-101B-9397-08002B2CF9AE}" pid="14" name="DocumentType2">
    <vt:lpwstr>Presentation2011</vt:lpwstr>
  </property>
  <property fmtid="{D5CDD505-2E9C-101B-9397-08002B2CF9AE}" pid="15" name="FooterType">
    <vt:lpwstr>PresTemp</vt:lpwstr>
  </property>
  <property fmtid="{D5CDD505-2E9C-101B-9397-08002B2CF9AE}" pid="16" name="UpdateProcess">
    <vt:lpwstr>End</vt:lpwstr>
  </property>
  <property fmtid="{D5CDD505-2E9C-101B-9397-08002B2CF9AE}" pid="17" name="White">
    <vt:bool>true</vt:bool>
  </property>
  <property fmtid="{D5CDD505-2E9C-101B-9397-08002B2CF9AE}" pid="18" name="chkTaglines">
    <vt:bool>false</vt:bool>
  </property>
  <property fmtid="{D5CDD505-2E9C-101B-9397-08002B2CF9AE}" pid="19" name="chkMetaData">
    <vt:bool>false</vt:bool>
  </property>
  <property fmtid="{D5CDD505-2E9C-101B-9397-08002B2CF9AE}" pid="20" name="Prepared">
    <vt:lpwstr>Parish Patni</vt:lpwstr>
  </property>
  <property fmtid="{D5CDD505-2E9C-101B-9397-08002B2CF9AE}" pid="21" name="ApprovedBy">
    <vt:lpwstr/>
  </property>
  <property fmtid="{D5CDD505-2E9C-101B-9397-08002B2CF9AE}" pid="22" name="DocNo">
    <vt:lpwstr/>
  </property>
  <property fmtid="{D5CDD505-2E9C-101B-9397-08002B2CF9AE}" pid="23" name="Checked">
    <vt:lpwstr/>
  </property>
  <property fmtid="{D5CDD505-2E9C-101B-9397-08002B2CF9AE}" pid="24" name="Revision">
    <vt:lpwstr>PA1</vt:lpwstr>
  </property>
  <property fmtid="{D5CDD505-2E9C-101B-9397-08002B2CF9AE}" pid="25" name="DocName">
    <vt:lpwstr/>
  </property>
  <property fmtid="{D5CDD505-2E9C-101B-9397-08002B2CF9AE}" pid="26" name="Title">
    <vt:lpwstr/>
  </property>
  <property fmtid="{D5CDD505-2E9C-101B-9397-08002B2CF9AE}" pid="27" name="Date">
    <vt:lpwstr>2018-04-10</vt:lpwstr>
  </property>
  <property fmtid="{D5CDD505-2E9C-101B-9397-08002B2CF9AE}" pid="28" name="Reference">
    <vt:lpwstr/>
  </property>
  <property fmtid="{D5CDD505-2E9C-101B-9397-08002B2CF9AE}" pid="29" name="Keyword">
    <vt:lpwstr/>
  </property>
  <property fmtid="{D5CDD505-2E9C-101B-9397-08002B2CF9AE}" pid="30" name="optUseConfClass">
    <vt:bool>true</vt:bool>
  </property>
  <property fmtid="{D5CDD505-2E9C-101B-9397-08002B2CF9AE}" pid="31" name="optUseConfLabel">
    <vt:bool>false</vt:bool>
  </property>
  <property fmtid="{D5CDD505-2E9C-101B-9397-08002B2CF9AE}" pid="32" name="optFooterCVLDocNo">
    <vt:bool>true</vt:bool>
  </property>
  <property fmtid="{D5CDD505-2E9C-101B-9397-08002B2CF9AE}" pid="33" name="optFooterCVLCopyright">
    <vt:bool>false</vt:bool>
  </property>
  <property fmtid="{D5CDD505-2E9C-101B-9397-08002B2CF9AE}" pid="34" name="optEnterText1">
    <vt:bool>false</vt:bool>
  </property>
  <property fmtid="{D5CDD505-2E9C-101B-9397-08002B2CF9AE}" pid="35" name="LeftFooterField">
    <vt:lpwstr/>
  </property>
  <property fmtid="{D5CDD505-2E9C-101B-9397-08002B2CF9AE}" pid="36" name="optFooterCVLConfLabel">
    <vt:bool>true</vt:bool>
  </property>
  <property fmtid="{D5CDD505-2E9C-101B-9397-08002B2CF9AE}" pid="37" name="optEnterText2">
    <vt:bool>false</vt:bool>
  </property>
  <property fmtid="{D5CDD505-2E9C-101B-9397-08002B2CF9AE}" pid="38" name="MiddleFooterField">
    <vt:lpwstr>Ericsson Internal</vt:lpwstr>
  </property>
  <property fmtid="{D5CDD505-2E9C-101B-9397-08002B2CF9AE}" pid="39" name="optFooterCVLTitle">
    <vt:bool>true</vt:bool>
  </property>
  <property fmtid="{D5CDD505-2E9C-101B-9397-08002B2CF9AE}" pid="40" name="optFooterCVLPrep">
    <vt:bool>false</vt:bool>
  </property>
  <property fmtid="{D5CDD505-2E9C-101B-9397-08002B2CF9AE}" pid="41" name="optEnterText3">
    <vt:bool>false</vt:bool>
  </property>
  <property fmtid="{D5CDD505-2E9C-101B-9397-08002B2CF9AE}" pid="42" name="RightFooterField">
    <vt:lpwstr/>
  </property>
  <property fmtid="{D5CDD505-2E9C-101B-9397-08002B2CF9AE}" pid="43" name="optFooterCVLDate">
    <vt:bool>false</vt:bool>
  </property>
  <property fmtid="{D5CDD505-2E9C-101B-9397-08002B2CF9AE}" pid="44" name="optEnterText4">
    <vt:bool>true</vt:bool>
  </property>
  <property fmtid="{D5CDD505-2E9C-101B-9397-08002B2CF9AE}" pid="45" name="RightFooterField2">
    <vt:lpwstr>2018-04-10</vt:lpwstr>
  </property>
  <property fmtid="{D5CDD505-2E9C-101B-9397-08002B2CF9AE}" pid="46" name="Pages">
    <vt:bool>false</vt:bool>
  </property>
  <property fmtid="{D5CDD505-2E9C-101B-9397-08002B2CF9AE}" pid="47" name="TotalNumb">
    <vt:bool>false</vt:bool>
  </property>
  <property fmtid="{D5CDD505-2E9C-101B-9397-08002B2CF9AE}" pid="48" name="ContentTypeId">
    <vt:lpwstr>0x0101006B252E62CA3CED4699573C1A17FF6C39</vt:lpwstr>
  </property>
</Properties>
</file>